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426" r:id="rId2"/>
    <p:sldId id="541" r:id="rId3"/>
    <p:sldId id="540" r:id="rId4"/>
    <p:sldId id="539" r:id="rId5"/>
    <p:sldId id="538" r:id="rId6"/>
    <p:sldId id="529" r:id="rId7"/>
    <p:sldId id="527" r:id="rId8"/>
    <p:sldId id="542" r:id="rId9"/>
    <p:sldId id="543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67392B-4145-4F34-9010-2D0F9C9E186B}" v="6" dt="2024-06-21T07:33:25.0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7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zlan, Azimah" userId="a7531543-a4ed-47aa-8443-a6e7cc8df1b5" providerId="ADAL" clId="{9767392B-4145-4F34-9010-2D0F9C9E186B}"/>
    <pc:docChg chg="undo custSel addSld delSld modSld delMainMaster">
      <pc:chgData name="Mazlan, Azimah" userId="a7531543-a4ed-47aa-8443-a6e7cc8df1b5" providerId="ADAL" clId="{9767392B-4145-4F34-9010-2D0F9C9E186B}" dt="2024-06-21T08:56:08.959" v="1112" actId="1076"/>
      <pc:docMkLst>
        <pc:docMk/>
      </pc:docMkLst>
      <pc:sldChg chg="del">
        <pc:chgData name="Mazlan, Azimah" userId="a7531543-a4ed-47aa-8443-a6e7cc8df1b5" providerId="ADAL" clId="{9767392B-4145-4F34-9010-2D0F9C9E186B}" dt="2024-06-14T02:03:57.672" v="549" actId="47"/>
        <pc:sldMkLst>
          <pc:docMk/>
          <pc:sldMk cId="3752746003" sldId="256"/>
        </pc:sldMkLst>
      </pc:sldChg>
      <pc:sldChg chg="modSp mod">
        <pc:chgData name="Mazlan, Azimah" userId="a7531543-a4ed-47aa-8443-a6e7cc8df1b5" providerId="ADAL" clId="{9767392B-4145-4F34-9010-2D0F9C9E186B}" dt="2024-06-14T02:06:26.283" v="573" actId="20577"/>
        <pc:sldMkLst>
          <pc:docMk/>
          <pc:sldMk cId="2551207023" sldId="426"/>
        </pc:sldMkLst>
        <pc:spChg chg="mod">
          <ac:chgData name="Mazlan, Azimah" userId="a7531543-a4ed-47aa-8443-a6e7cc8df1b5" providerId="ADAL" clId="{9767392B-4145-4F34-9010-2D0F9C9E186B}" dt="2024-06-14T01:45:07.449" v="22" actId="20577"/>
          <ac:spMkLst>
            <pc:docMk/>
            <pc:sldMk cId="2551207023" sldId="426"/>
            <ac:spMk id="2" creationId="{00000000-0000-0000-0000-000000000000}"/>
          </ac:spMkLst>
        </pc:spChg>
        <pc:spChg chg="mod">
          <ac:chgData name="Mazlan, Azimah" userId="a7531543-a4ed-47aa-8443-a6e7cc8df1b5" providerId="ADAL" clId="{9767392B-4145-4F34-9010-2D0F9C9E186B}" dt="2024-06-14T02:06:26.283" v="573" actId="20577"/>
          <ac:spMkLst>
            <pc:docMk/>
            <pc:sldMk cId="2551207023" sldId="426"/>
            <ac:spMk id="16" creationId="{E2208C9E-160F-4546-BA16-108EA95F07C8}"/>
          </ac:spMkLst>
        </pc:spChg>
      </pc:sldChg>
      <pc:sldChg chg="addSp delSp modSp mod">
        <pc:chgData name="Mazlan, Azimah" userId="a7531543-a4ed-47aa-8443-a6e7cc8df1b5" providerId="ADAL" clId="{9767392B-4145-4F34-9010-2D0F9C9E186B}" dt="2024-06-21T08:56:08.959" v="1112" actId="1076"/>
        <pc:sldMkLst>
          <pc:docMk/>
          <pc:sldMk cId="3484922441" sldId="527"/>
        </pc:sldMkLst>
        <pc:spChg chg="mod">
          <ac:chgData name="Mazlan, Azimah" userId="a7531543-a4ed-47aa-8443-a6e7cc8df1b5" providerId="ADAL" clId="{9767392B-4145-4F34-9010-2D0F9C9E186B}" dt="2024-06-14T01:57:55.169" v="284" actId="14100"/>
          <ac:spMkLst>
            <pc:docMk/>
            <pc:sldMk cId="3484922441" sldId="527"/>
            <ac:spMk id="5" creationId="{87B46EC3-3585-4FD2-2D9B-7E1D3CD0DEBE}"/>
          </ac:spMkLst>
        </pc:spChg>
        <pc:spChg chg="mod">
          <ac:chgData name="Mazlan, Azimah" userId="a7531543-a4ed-47aa-8443-a6e7cc8df1b5" providerId="ADAL" clId="{9767392B-4145-4F34-9010-2D0F9C9E186B}" dt="2024-06-21T08:33:33.336" v="938" actId="14100"/>
          <ac:spMkLst>
            <pc:docMk/>
            <pc:sldMk cId="3484922441" sldId="527"/>
            <ac:spMk id="6" creationId="{EA90EC98-29BC-4E12-60A9-A4D65322E328}"/>
          </ac:spMkLst>
        </pc:spChg>
        <pc:spChg chg="mod">
          <ac:chgData name="Mazlan, Azimah" userId="a7531543-a4ed-47aa-8443-a6e7cc8df1b5" providerId="ADAL" clId="{9767392B-4145-4F34-9010-2D0F9C9E186B}" dt="2024-06-21T08:35:37.453" v="940" actId="14100"/>
          <ac:spMkLst>
            <pc:docMk/>
            <pc:sldMk cId="3484922441" sldId="527"/>
            <ac:spMk id="7" creationId="{DFA953DC-8C39-1107-FC02-2004A1B2DDF2}"/>
          </ac:spMkLst>
        </pc:spChg>
        <pc:spChg chg="mod">
          <ac:chgData name="Mazlan, Azimah" userId="a7531543-a4ed-47aa-8443-a6e7cc8df1b5" providerId="ADAL" clId="{9767392B-4145-4F34-9010-2D0F9C9E186B}" dt="2024-06-14T02:00:01.514" v="346" actId="14100"/>
          <ac:spMkLst>
            <pc:docMk/>
            <pc:sldMk cId="3484922441" sldId="527"/>
            <ac:spMk id="8" creationId="{E0F6C52B-AAFD-7FE2-F7AD-46A26511B4D1}"/>
          </ac:spMkLst>
        </pc:spChg>
        <pc:spChg chg="mod">
          <ac:chgData name="Mazlan, Azimah" userId="a7531543-a4ed-47aa-8443-a6e7cc8df1b5" providerId="ADAL" clId="{9767392B-4145-4F34-9010-2D0F9C9E186B}" dt="2024-06-14T02:02:51.472" v="480" actId="1035"/>
          <ac:spMkLst>
            <pc:docMk/>
            <pc:sldMk cId="3484922441" sldId="527"/>
            <ac:spMk id="9" creationId="{96DF76F6-A1C3-4CA7-0B73-E9ECF5B0F81B}"/>
          </ac:spMkLst>
        </pc:spChg>
        <pc:spChg chg="add mod">
          <ac:chgData name="Mazlan, Azimah" userId="a7531543-a4ed-47aa-8443-a6e7cc8df1b5" providerId="ADAL" clId="{9767392B-4145-4F34-9010-2D0F9C9E186B}" dt="2024-06-21T08:53:45.280" v="1111" actId="20577"/>
          <ac:spMkLst>
            <pc:docMk/>
            <pc:sldMk cId="3484922441" sldId="527"/>
            <ac:spMk id="24" creationId="{938A8795-A219-8ECF-2716-3799668FF8FE}"/>
          </ac:spMkLst>
        </pc:spChg>
        <pc:spChg chg="add mod">
          <ac:chgData name="Mazlan, Azimah" userId="a7531543-a4ed-47aa-8443-a6e7cc8df1b5" providerId="ADAL" clId="{9767392B-4145-4F34-9010-2D0F9C9E186B}" dt="2024-06-21T08:56:08.959" v="1112" actId="1076"/>
          <ac:spMkLst>
            <pc:docMk/>
            <pc:sldMk cId="3484922441" sldId="527"/>
            <ac:spMk id="25" creationId="{0C0495AC-71B3-74C4-B1C5-A48B3D3D565B}"/>
          </ac:spMkLst>
        </pc:spChg>
        <pc:spChg chg="mod">
          <ac:chgData name="Mazlan, Azimah" userId="a7531543-a4ed-47aa-8443-a6e7cc8df1b5" providerId="ADAL" clId="{9767392B-4145-4F34-9010-2D0F9C9E186B}" dt="2024-06-21T08:36:16.618" v="966" actId="1076"/>
          <ac:spMkLst>
            <pc:docMk/>
            <pc:sldMk cId="3484922441" sldId="527"/>
            <ac:spMk id="30" creationId="{A73A492C-616A-20A2-8385-803F553DDF59}"/>
          </ac:spMkLst>
        </pc:spChg>
        <pc:spChg chg="del">
          <ac:chgData name="Mazlan, Azimah" userId="a7531543-a4ed-47aa-8443-a6e7cc8df1b5" providerId="ADAL" clId="{9767392B-4145-4F34-9010-2D0F9C9E186B}" dt="2024-06-14T02:03:53.005" v="548" actId="478"/>
          <ac:spMkLst>
            <pc:docMk/>
            <pc:sldMk cId="3484922441" sldId="527"/>
            <ac:spMk id="31" creationId="{540AE58E-6475-EDD2-3930-DA0DE65D8AEF}"/>
          </ac:spMkLst>
        </pc:spChg>
        <pc:spChg chg="mod">
          <ac:chgData name="Mazlan, Azimah" userId="a7531543-a4ed-47aa-8443-a6e7cc8df1b5" providerId="ADAL" clId="{9767392B-4145-4F34-9010-2D0F9C9E186B}" dt="2024-06-14T02:03:11.627" v="547" actId="1076"/>
          <ac:spMkLst>
            <pc:docMk/>
            <pc:sldMk cId="3484922441" sldId="527"/>
            <ac:spMk id="33" creationId="{63CEF93E-BC3E-3015-3985-E081AD6F02F0}"/>
          </ac:spMkLst>
        </pc:spChg>
        <pc:spChg chg="add mod">
          <ac:chgData name="Mazlan, Azimah" userId="a7531543-a4ed-47aa-8443-a6e7cc8df1b5" providerId="ADAL" clId="{9767392B-4145-4F34-9010-2D0F9C9E186B}" dt="2024-06-21T08:38:04.265" v="976" actId="1076"/>
          <ac:spMkLst>
            <pc:docMk/>
            <pc:sldMk cId="3484922441" sldId="527"/>
            <ac:spMk id="37" creationId="{F222B6A0-C67F-8242-D429-BB401AE71352}"/>
          </ac:spMkLst>
        </pc:spChg>
        <pc:grpChg chg="mod">
          <ac:chgData name="Mazlan, Azimah" userId="a7531543-a4ed-47aa-8443-a6e7cc8df1b5" providerId="ADAL" clId="{9767392B-4145-4F34-9010-2D0F9C9E186B}" dt="2024-06-14T01:59:46.981" v="344" actId="1037"/>
          <ac:grpSpMkLst>
            <pc:docMk/>
            <pc:sldMk cId="3484922441" sldId="527"/>
            <ac:grpSpMk id="10" creationId="{80BA3ABA-549B-2793-71DF-96168D2C55A3}"/>
          </ac:grpSpMkLst>
        </pc:grpChg>
        <pc:grpChg chg="mod">
          <ac:chgData name="Mazlan, Azimah" userId="a7531543-a4ed-47aa-8443-a6e7cc8df1b5" providerId="ADAL" clId="{9767392B-4145-4F34-9010-2D0F9C9E186B}" dt="2024-06-21T08:23:51.642" v="813" actId="1038"/>
          <ac:grpSpMkLst>
            <pc:docMk/>
            <pc:sldMk cId="3484922441" sldId="527"/>
            <ac:grpSpMk id="20" creationId="{72B82446-BC9D-A0D7-6F22-2D15B200175B}"/>
          </ac:grpSpMkLst>
        </pc:grpChg>
        <pc:grpChg chg="del">
          <ac:chgData name="Mazlan, Azimah" userId="a7531543-a4ed-47aa-8443-a6e7cc8df1b5" providerId="ADAL" clId="{9767392B-4145-4F34-9010-2D0F9C9E186B}" dt="2024-06-14T02:00:21.132" v="372" actId="478"/>
          <ac:grpSpMkLst>
            <pc:docMk/>
            <pc:sldMk cId="3484922441" sldId="527"/>
            <ac:grpSpMk id="24" creationId="{5CED78DE-F7F2-6817-4745-356FD7CFF19B}"/>
          </ac:grpSpMkLst>
        </pc:grpChg>
        <pc:grpChg chg="mod">
          <ac:chgData name="Mazlan, Azimah" userId="a7531543-a4ed-47aa-8443-a6e7cc8df1b5" providerId="ADAL" clId="{9767392B-4145-4F34-9010-2D0F9C9E186B}" dt="2024-06-14T02:03:06.617" v="546" actId="1037"/>
          <ac:grpSpMkLst>
            <pc:docMk/>
            <pc:sldMk cId="3484922441" sldId="527"/>
            <ac:grpSpMk id="27" creationId="{F7F2CF39-D8CB-C861-7FD7-2E10D7697364}"/>
          </ac:grpSpMkLst>
        </pc:grpChg>
        <pc:grpChg chg="del">
          <ac:chgData name="Mazlan, Azimah" userId="a7531543-a4ed-47aa-8443-a6e7cc8df1b5" providerId="ADAL" clId="{9767392B-4145-4F34-9010-2D0F9C9E186B}" dt="2024-06-14T01:52:08.537" v="119" actId="478"/>
          <ac:grpSpMkLst>
            <pc:docMk/>
            <pc:sldMk cId="3484922441" sldId="527"/>
            <ac:grpSpMk id="32" creationId="{00D7A817-E148-AE31-A617-88C0452A640A}"/>
          </ac:grpSpMkLst>
        </pc:grpChg>
        <pc:grpChg chg="del">
          <ac:chgData name="Mazlan, Azimah" userId="a7531543-a4ed-47aa-8443-a6e7cc8df1b5" providerId="ADAL" clId="{9767392B-4145-4F34-9010-2D0F9C9E186B}" dt="2024-06-14T02:00:16.527" v="371" actId="478"/>
          <ac:grpSpMkLst>
            <pc:docMk/>
            <pc:sldMk cId="3484922441" sldId="527"/>
            <ac:grpSpMk id="34" creationId="{6474AF5A-F1D3-8C05-97A2-B3E9C6062B5A}"/>
          </ac:grpSpMkLst>
        </pc:grpChg>
        <pc:graphicFrameChg chg="mod ord modGraphic">
          <ac:chgData name="Mazlan, Azimah" userId="a7531543-a4ed-47aa-8443-a6e7cc8df1b5" providerId="ADAL" clId="{9767392B-4145-4F34-9010-2D0F9C9E186B}" dt="2024-06-14T01:55:07.252" v="165" actId="113"/>
          <ac:graphicFrameMkLst>
            <pc:docMk/>
            <pc:sldMk cId="3484922441" sldId="527"/>
            <ac:graphicFrameMk id="4" creationId="{27DD9E31-CE0A-E1A0-B1B8-2417DAFEFD7B}"/>
          </ac:graphicFrameMkLst>
        </pc:graphicFrameChg>
      </pc:sldChg>
      <pc:sldChg chg="modSp mod">
        <pc:chgData name="Mazlan, Azimah" userId="a7531543-a4ed-47aa-8443-a6e7cc8df1b5" providerId="ADAL" clId="{9767392B-4145-4F34-9010-2D0F9C9E186B}" dt="2024-06-21T07:54:31.263" v="779" actId="20577"/>
        <pc:sldMkLst>
          <pc:docMk/>
          <pc:sldMk cId="507903638" sldId="540"/>
        </pc:sldMkLst>
        <pc:graphicFrameChg chg="mod modGraphic">
          <ac:chgData name="Mazlan, Azimah" userId="a7531543-a4ed-47aa-8443-a6e7cc8df1b5" providerId="ADAL" clId="{9767392B-4145-4F34-9010-2D0F9C9E186B}" dt="2024-06-21T07:54:31.263" v="779" actId="20577"/>
          <ac:graphicFrameMkLst>
            <pc:docMk/>
            <pc:sldMk cId="507903638" sldId="540"/>
            <ac:graphicFrameMk id="6" creationId="{16BF4DFF-06F0-7930-D27D-09252AA88AFC}"/>
          </ac:graphicFrameMkLst>
        </pc:graphicFrameChg>
      </pc:sldChg>
      <pc:sldChg chg="modSp mod">
        <pc:chgData name="Mazlan, Azimah" userId="a7531543-a4ed-47aa-8443-a6e7cc8df1b5" providerId="ADAL" clId="{9767392B-4145-4F34-9010-2D0F9C9E186B}" dt="2024-06-21T08:37:26.879" v="975" actId="20577"/>
        <pc:sldMkLst>
          <pc:docMk/>
          <pc:sldMk cId="1673471080" sldId="542"/>
        </pc:sldMkLst>
        <pc:spChg chg="mod">
          <ac:chgData name="Mazlan, Azimah" userId="a7531543-a4ed-47aa-8443-a6e7cc8df1b5" providerId="ADAL" clId="{9767392B-4145-4F34-9010-2D0F9C9E186B}" dt="2024-06-21T08:37:26.879" v="975" actId="20577"/>
          <ac:spMkLst>
            <pc:docMk/>
            <pc:sldMk cId="1673471080" sldId="542"/>
            <ac:spMk id="2" creationId="{00000000-0000-0000-0000-000000000000}"/>
          </ac:spMkLst>
        </pc:spChg>
      </pc:sldChg>
      <pc:sldChg chg="delSp modSp mod">
        <pc:chgData name="Mazlan, Azimah" userId="a7531543-a4ed-47aa-8443-a6e7cc8df1b5" providerId="ADAL" clId="{9767392B-4145-4F34-9010-2D0F9C9E186B}" dt="2024-06-21T07:33:59.747" v="712" actId="478"/>
        <pc:sldMkLst>
          <pc:docMk/>
          <pc:sldMk cId="108787537" sldId="543"/>
        </pc:sldMkLst>
        <pc:spChg chg="mod">
          <ac:chgData name="Mazlan, Azimah" userId="a7531543-a4ed-47aa-8443-a6e7cc8df1b5" providerId="ADAL" clId="{9767392B-4145-4F34-9010-2D0F9C9E186B}" dt="2024-06-21T07:33:31.408" v="711" actId="20577"/>
          <ac:spMkLst>
            <pc:docMk/>
            <pc:sldMk cId="108787537" sldId="543"/>
            <ac:spMk id="2" creationId="{FA385C38-535D-934E-0349-0150B64F9CB1}"/>
          </ac:spMkLst>
        </pc:spChg>
        <pc:graphicFrameChg chg="del">
          <ac:chgData name="Mazlan, Azimah" userId="a7531543-a4ed-47aa-8443-a6e7cc8df1b5" providerId="ADAL" clId="{9767392B-4145-4F34-9010-2D0F9C9E186B}" dt="2024-06-21T07:33:59.747" v="712" actId="478"/>
          <ac:graphicFrameMkLst>
            <pc:docMk/>
            <pc:sldMk cId="108787537" sldId="543"/>
            <ac:graphicFrameMk id="6" creationId="{16BF4DFF-06F0-7930-D27D-09252AA88AFC}"/>
          </ac:graphicFrameMkLst>
        </pc:graphicFrameChg>
      </pc:sldChg>
      <pc:sldChg chg="new del">
        <pc:chgData name="Mazlan, Azimah" userId="a7531543-a4ed-47aa-8443-a6e7cc8df1b5" providerId="ADAL" clId="{9767392B-4145-4F34-9010-2D0F9C9E186B}" dt="2024-06-21T07:33:16.288" v="705" actId="680"/>
        <pc:sldMkLst>
          <pc:docMk/>
          <pc:sldMk cId="3790443287" sldId="543"/>
        </pc:sldMkLst>
      </pc:sldChg>
      <pc:sldMasterChg chg="del delSldLayout">
        <pc:chgData name="Mazlan, Azimah" userId="a7531543-a4ed-47aa-8443-a6e7cc8df1b5" providerId="ADAL" clId="{9767392B-4145-4F34-9010-2D0F9C9E186B}" dt="2024-06-14T02:03:57.672" v="549" actId="47"/>
        <pc:sldMasterMkLst>
          <pc:docMk/>
          <pc:sldMasterMk cId="811640570" sldId="2147483648"/>
        </pc:sldMasterMkLst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1722066493" sldId="2147483649"/>
          </pc:sldLayoutMkLst>
        </pc:sldLayoutChg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4267202620" sldId="2147483650"/>
          </pc:sldLayoutMkLst>
        </pc:sldLayoutChg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1863489113" sldId="2147483651"/>
          </pc:sldLayoutMkLst>
        </pc:sldLayoutChg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3654202674" sldId="2147483652"/>
          </pc:sldLayoutMkLst>
        </pc:sldLayoutChg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1381803574" sldId="2147483653"/>
          </pc:sldLayoutMkLst>
        </pc:sldLayoutChg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2685047780" sldId="2147483654"/>
          </pc:sldLayoutMkLst>
        </pc:sldLayoutChg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3475441733" sldId="2147483655"/>
          </pc:sldLayoutMkLst>
        </pc:sldLayoutChg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2764065813" sldId="2147483656"/>
          </pc:sldLayoutMkLst>
        </pc:sldLayoutChg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238163024" sldId="2147483657"/>
          </pc:sldLayoutMkLst>
        </pc:sldLayoutChg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390768197" sldId="2147483658"/>
          </pc:sldLayoutMkLst>
        </pc:sldLayoutChg>
        <pc:sldLayoutChg chg="del">
          <pc:chgData name="Mazlan, Azimah" userId="a7531543-a4ed-47aa-8443-a6e7cc8df1b5" providerId="ADAL" clId="{9767392B-4145-4F34-9010-2D0F9C9E186B}" dt="2024-06-14T02:03:57.672" v="549" actId="47"/>
          <pc:sldLayoutMkLst>
            <pc:docMk/>
            <pc:sldMasterMk cId="811640570" sldId="2147483648"/>
            <pc:sldLayoutMk cId="3216934617" sldId="214748365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802581-C0C8-43A0-BF4E-1A86D96CF3E6}" type="datetimeFigureOut">
              <a:rPr lang="en-MY" smtClean="0"/>
              <a:t>21/6/2024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94BED-D07B-4E08-9CC8-69D49EE14C8C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06772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E2CCAE-DB75-4568-A690-EABF183E1245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1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7114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1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3665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1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2699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1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1752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046CFA-8D8E-4525-8645-514B495016EF}" type="slidenum">
              <a:rPr kumimoji="0" lang="en-MY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MY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7592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CC3700-72FB-4A96-87B2-16DD1E0AC6E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7EE751-BFE0-45B2-AB91-8C341F8B2BB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1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ED4FE-76B6-4B7D-B2B5-FA5182191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47272-D100-47C7-82C2-970D8DF6AA0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9" name="Header Placeholder 8">
            <a:extLst>
              <a:ext uri="{FF2B5EF4-FFF2-40B4-BE49-F238E27FC236}">
                <a16:creationId xmlns:a16="http://schemas.microsoft.com/office/drawing/2014/main" id="{50E7586B-4242-4E34-932F-FC44FF947ED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McDonald'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13" name="Slide Image Placeholder 12">
            <a:extLst>
              <a:ext uri="{FF2B5EF4-FFF2-40B4-BE49-F238E27FC236}">
                <a16:creationId xmlns:a16="http://schemas.microsoft.com/office/drawing/2014/main" id="{CE06BAC3-8DA0-4BEA-9735-1D4E71E8A6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503238"/>
            <a:ext cx="5486400" cy="3086100"/>
          </a:xfrm>
        </p:spPr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565A8379-6A10-4527-9BFF-D20773BBF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58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0.sv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0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0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576072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576072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 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951321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303212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3E292F22-31D7-43DA-8D74-8B755273876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6760" y="777240"/>
            <a:ext cx="4572000" cy="5303520"/>
          </a:xfrm>
          <a:solidFill>
            <a:schemeClr val="bg1">
              <a:lumMod val="85000"/>
            </a:schemeClr>
          </a:solidFill>
          <a:ln w="1270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21680" y="228600"/>
            <a:ext cx="603504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5906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91598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3E292F22-31D7-43DA-8D74-8B755273876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73240" y="777240"/>
            <a:ext cx="4572000" cy="5303520"/>
          </a:xfrm>
          <a:solidFill>
            <a:schemeClr val="bg1">
              <a:lumMod val="85000"/>
            </a:schemeClr>
          </a:solidFill>
          <a:ln w="1270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228600"/>
            <a:ext cx="603504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91405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17AF177E-62C6-42EE-A2C0-777C1AD04EDC}"/>
              </a:ext>
            </a:extLst>
          </p:cNvPr>
          <p:cNvGrpSpPr/>
          <p:nvPr userDrawn="1"/>
        </p:nvGrpSpPr>
        <p:grpSpPr>
          <a:xfrm>
            <a:off x="1" y="667386"/>
            <a:ext cx="6532488" cy="6190614"/>
            <a:chOff x="1" y="667386"/>
            <a:chExt cx="6532488" cy="6190614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223C106-9483-494E-B417-C6D469511E0E}"/>
                </a:ext>
              </a:extLst>
            </p:cNvPr>
            <p:cNvSpPr/>
            <p:nvPr userDrawn="1"/>
          </p:nvSpPr>
          <p:spPr>
            <a:xfrm>
              <a:off x="2558223" y="667386"/>
              <a:ext cx="1849450" cy="6190614"/>
            </a:xfrm>
            <a:custGeom>
              <a:avLst/>
              <a:gdLst>
                <a:gd name="connsiteX0" fmla="*/ 494822 w 1849450"/>
                <a:gd name="connsiteY0" fmla="*/ 0 h 6190614"/>
                <a:gd name="connsiteX1" fmla="*/ 1849450 w 1849450"/>
                <a:gd name="connsiteY1" fmla="*/ 108277 h 6190614"/>
                <a:gd name="connsiteX2" fmla="*/ 1363281 w 1849450"/>
                <a:gd name="connsiteY2" fmla="*/ 6190614 h 6190614"/>
                <a:gd name="connsiteX3" fmla="*/ 0 w 1849450"/>
                <a:gd name="connsiteY3" fmla="*/ 6190614 h 6190614"/>
                <a:gd name="connsiteX4" fmla="*/ 494822 w 1849450"/>
                <a:gd name="connsiteY4" fmla="*/ 0 h 619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9450" h="6190614">
                  <a:moveTo>
                    <a:pt x="494822" y="0"/>
                  </a:moveTo>
                  <a:lnTo>
                    <a:pt x="1849450" y="108277"/>
                  </a:lnTo>
                  <a:lnTo>
                    <a:pt x="1363281" y="6190614"/>
                  </a:lnTo>
                  <a:lnTo>
                    <a:pt x="0" y="6190614"/>
                  </a:lnTo>
                  <a:lnTo>
                    <a:pt x="494822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7C970ED-4F1D-4B79-BA6F-4D048A56ED47}"/>
                </a:ext>
              </a:extLst>
            </p:cNvPr>
            <p:cNvSpPr/>
            <p:nvPr userDrawn="1"/>
          </p:nvSpPr>
          <p:spPr>
            <a:xfrm>
              <a:off x="4502045" y="692238"/>
              <a:ext cx="2030444" cy="6165762"/>
            </a:xfrm>
            <a:custGeom>
              <a:avLst/>
              <a:gdLst>
                <a:gd name="connsiteX0" fmla="*/ 1345359 w 2030444"/>
                <a:gd name="connsiteY0" fmla="*/ 0 h 6165762"/>
                <a:gd name="connsiteX1" fmla="*/ 2030444 w 2030444"/>
                <a:gd name="connsiteY1" fmla="*/ 6165762 h 6165762"/>
                <a:gd name="connsiteX2" fmla="*/ 668477 w 2030444"/>
                <a:gd name="connsiteY2" fmla="*/ 6165762 h 6165762"/>
                <a:gd name="connsiteX3" fmla="*/ 0 w 2030444"/>
                <a:gd name="connsiteY3" fmla="*/ 149484 h 6165762"/>
                <a:gd name="connsiteX4" fmla="*/ 1345359 w 2030444"/>
                <a:gd name="connsiteY4" fmla="*/ 0 h 616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0444" h="6165762">
                  <a:moveTo>
                    <a:pt x="1345359" y="0"/>
                  </a:moveTo>
                  <a:lnTo>
                    <a:pt x="2030444" y="6165762"/>
                  </a:lnTo>
                  <a:lnTo>
                    <a:pt x="668477" y="6165762"/>
                  </a:lnTo>
                  <a:lnTo>
                    <a:pt x="0" y="149484"/>
                  </a:lnTo>
                  <a:lnTo>
                    <a:pt x="1345359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A4F293E-5F4D-421E-BA0E-FF487B0C6228}"/>
                </a:ext>
              </a:extLst>
            </p:cNvPr>
            <p:cNvSpPr/>
            <p:nvPr userDrawn="1"/>
          </p:nvSpPr>
          <p:spPr>
            <a:xfrm>
              <a:off x="1025854" y="712296"/>
              <a:ext cx="1387895" cy="6145704"/>
            </a:xfrm>
            <a:custGeom>
              <a:avLst/>
              <a:gdLst>
                <a:gd name="connsiteX0" fmla="*/ 1358933 w 1387895"/>
                <a:gd name="connsiteY0" fmla="*/ 0 h 6145704"/>
                <a:gd name="connsiteX1" fmla="*/ 1387895 w 1387895"/>
                <a:gd name="connsiteY1" fmla="*/ 6145704 h 6145704"/>
                <a:gd name="connsiteX2" fmla="*/ 28932 w 1387895"/>
                <a:gd name="connsiteY2" fmla="*/ 6145704 h 6145704"/>
                <a:gd name="connsiteX3" fmla="*/ 0 w 1387895"/>
                <a:gd name="connsiteY3" fmla="*/ 6404 h 6145704"/>
                <a:gd name="connsiteX4" fmla="*/ 1358933 w 1387895"/>
                <a:gd name="connsiteY4" fmla="*/ 0 h 6145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7895" h="6145704">
                  <a:moveTo>
                    <a:pt x="1358933" y="0"/>
                  </a:moveTo>
                  <a:lnTo>
                    <a:pt x="1387895" y="6145704"/>
                  </a:lnTo>
                  <a:lnTo>
                    <a:pt x="28932" y="6145704"/>
                  </a:lnTo>
                  <a:lnTo>
                    <a:pt x="0" y="6404"/>
                  </a:lnTo>
                  <a:lnTo>
                    <a:pt x="1358933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41F0D19-D2B9-4F58-B736-D0360CDE6ECF}"/>
                </a:ext>
              </a:extLst>
            </p:cNvPr>
            <p:cNvSpPr/>
            <p:nvPr userDrawn="1"/>
          </p:nvSpPr>
          <p:spPr>
            <a:xfrm>
              <a:off x="1" y="722994"/>
              <a:ext cx="730645" cy="6135006"/>
            </a:xfrm>
            <a:custGeom>
              <a:avLst/>
              <a:gdLst>
                <a:gd name="connsiteX0" fmla="*/ 0 w 730645"/>
                <a:gd name="connsiteY0" fmla="*/ 0 h 6135006"/>
                <a:gd name="connsiteX1" fmla="*/ 730645 w 730645"/>
                <a:gd name="connsiteY1" fmla="*/ 30623 h 6135006"/>
                <a:gd name="connsiteX2" fmla="*/ 474795 w 730645"/>
                <a:gd name="connsiteY2" fmla="*/ 6135006 h 6135006"/>
                <a:gd name="connsiteX3" fmla="*/ 0 w 730645"/>
                <a:gd name="connsiteY3" fmla="*/ 6135006 h 6135006"/>
                <a:gd name="connsiteX4" fmla="*/ 0 w 730645"/>
                <a:gd name="connsiteY4" fmla="*/ 0 h 61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645" h="6135006">
                  <a:moveTo>
                    <a:pt x="0" y="0"/>
                  </a:moveTo>
                  <a:lnTo>
                    <a:pt x="730645" y="30623"/>
                  </a:lnTo>
                  <a:lnTo>
                    <a:pt x="474795" y="6135006"/>
                  </a:lnTo>
                  <a:lnTo>
                    <a:pt x="0" y="61350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61760" y="228600"/>
            <a:ext cx="539496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38809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D96E502C-129E-424D-87C8-23B783B1E9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8952" cy="6858000"/>
          </a:xfrm>
          <a:solidFill>
            <a:schemeClr val="bg1">
              <a:lumMod val="85000"/>
            </a:schemeClr>
          </a:solidFill>
          <a:ln w="127000">
            <a:noFill/>
            <a:miter lim="800000"/>
          </a:ln>
        </p:spPr>
        <p:txBody>
          <a:bodyPr tIns="1554480"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11522074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1482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228600"/>
            <a:ext cx="10789920" cy="2560319"/>
          </a:xfrm>
        </p:spPr>
        <p:txBody>
          <a:bodyPr anchor="b" anchorCtr="0"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800" y="3611880"/>
            <a:ext cx="10789920" cy="2652395"/>
          </a:xfrm>
        </p:spPr>
        <p:txBody>
          <a:bodyPr/>
          <a:lstStyle>
            <a:lvl1pPr marL="0" indent="0">
              <a:buNone/>
              <a:defRPr/>
            </a:lvl1pPr>
            <a:lvl2pPr marL="515938" indent="-231775">
              <a:buFont typeface="Symbol" panose="05050102010706020507" pitchFamily="18" charset="2"/>
              <a:buChar char="·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76693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F5A223-433E-4FAB-9D8A-E7E3D6CF1B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58640" y="228600"/>
            <a:ext cx="7498398" cy="6400800"/>
          </a:xfrm>
        </p:spPr>
        <p:txBody>
          <a:bodyPr anchor="ctr" anchorCtr="0"/>
          <a:lstStyle>
            <a:lvl1pPr marL="0" indent="0">
              <a:spcBef>
                <a:spcPts val="1400"/>
              </a:spcBef>
              <a:buNone/>
              <a:defRPr sz="4000" b="1"/>
            </a:lvl1pPr>
            <a:lvl2pPr marL="515938" indent="-231775">
              <a:buFont typeface="Arial" panose="020B0604020202020204" pitchFamily="34" charset="0"/>
              <a:buChar char="•"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Agenda Item 1</a:t>
            </a:r>
          </a:p>
          <a:p>
            <a:pPr lvl="0"/>
            <a:r>
              <a:rPr lang="en-US" dirty="0"/>
              <a:t>Agenda Item 2</a:t>
            </a:r>
          </a:p>
          <a:p>
            <a:pPr lvl="0"/>
            <a:r>
              <a:rPr lang="en-US" dirty="0"/>
              <a:t>Agenda Item 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90020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01587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143000"/>
            <a:ext cx="11522075" cy="51212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9885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2 column 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143000"/>
            <a:ext cx="11522075" cy="5121275"/>
          </a:xfrm>
        </p:spPr>
        <p:txBody>
          <a:bodyPr numCol="2" spcCol="45720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53306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hite w/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35A23D-E666-4E0C-9980-F206C8FA51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2880 w 12192000"/>
              <a:gd name="connsiteY0" fmla="*/ 182880 h 6858000"/>
              <a:gd name="connsiteX1" fmla="*/ 182880 w 12192000"/>
              <a:gd name="connsiteY1" fmla="*/ 6675120 h 6858000"/>
              <a:gd name="connsiteX2" fmla="*/ 12009120 w 12192000"/>
              <a:gd name="connsiteY2" fmla="*/ 6675120 h 6858000"/>
              <a:gd name="connsiteX3" fmla="*/ 12009120 w 12192000"/>
              <a:gd name="connsiteY3" fmla="*/ 182880 h 6858000"/>
              <a:gd name="connsiteX4" fmla="*/ 1200912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12188952 w 12192000"/>
              <a:gd name="connsiteY7" fmla="*/ 6858000 h 6858000"/>
              <a:gd name="connsiteX8" fmla="*/ 12009120 w 12192000"/>
              <a:gd name="connsiteY8" fmla="*/ 6858000 h 6858000"/>
              <a:gd name="connsiteX9" fmla="*/ 182880 w 12192000"/>
              <a:gd name="connsiteY9" fmla="*/ 6858000 h 6858000"/>
              <a:gd name="connsiteX10" fmla="*/ 1 w 12192000"/>
              <a:gd name="connsiteY10" fmla="*/ 6858000 h 6858000"/>
              <a:gd name="connsiteX11" fmla="*/ 0 w 12192000"/>
              <a:gd name="connsiteY11" fmla="*/ 6858000 h 6858000"/>
              <a:gd name="connsiteX12" fmla="*/ 0 w 12192000"/>
              <a:gd name="connsiteY12" fmla="*/ 0 h 6858000"/>
              <a:gd name="connsiteX13" fmla="*/ 182880 w 12192000"/>
              <a:gd name="connsiteY13" fmla="*/ 0 h 6858000"/>
              <a:gd name="connsiteX14" fmla="*/ 182880 w 12192000"/>
              <a:gd name="connsiteY14" fmla="*/ 0 h 6858000"/>
              <a:gd name="connsiteX15" fmla="*/ 12009120 w 12192000"/>
              <a:gd name="connsiteY1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858000">
                <a:moveTo>
                  <a:pt x="182880" y="182880"/>
                </a:moveTo>
                <a:lnTo>
                  <a:pt x="182880" y="6675120"/>
                </a:lnTo>
                <a:lnTo>
                  <a:pt x="12009120" y="6675120"/>
                </a:lnTo>
                <a:lnTo>
                  <a:pt x="12009120" y="182880"/>
                </a:lnTo>
                <a:close/>
                <a:moveTo>
                  <a:pt x="1200912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88952" y="6858000"/>
                </a:lnTo>
                <a:lnTo>
                  <a:pt x="12009120" y="6858000"/>
                </a:lnTo>
                <a:lnTo>
                  <a:pt x="182880" y="6858000"/>
                </a:lnTo>
                <a:lnTo>
                  <a:pt x="1" y="6858000"/>
                </a:lnTo>
                <a:lnTo>
                  <a:pt x="0" y="6858000"/>
                </a:lnTo>
                <a:lnTo>
                  <a:pt x="0" y="0"/>
                </a:lnTo>
                <a:lnTo>
                  <a:pt x="182880" y="0"/>
                </a:lnTo>
                <a:lnTo>
                  <a:pt x="182880" y="0"/>
                </a:lnTo>
                <a:lnTo>
                  <a:pt x="12009120" y="0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334963" y="1143000"/>
            <a:ext cx="11522075" cy="51212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50184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Ar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rch">
            <a:extLst>
              <a:ext uri="{FF2B5EF4-FFF2-40B4-BE49-F238E27FC236}">
                <a16:creationId xmlns:a16="http://schemas.microsoft.com/office/drawing/2014/main" id="{C58CB3D4-30D8-4DBB-A3FA-4554ED583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1" t="-2" r="34319" b="11162"/>
          <a:stretch/>
        </p:blipFill>
        <p:spPr>
          <a:xfrm>
            <a:off x="6096000" y="274320"/>
            <a:ext cx="6096000" cy="6583680"/>
          </a:xfrm>
          <a:prstGeom prst="rect">
            <a:avLst/>
          </a:prstGeom>
        </p:spPr>
      </p:pic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576072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576072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 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313941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Gray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B97DE0F-8E09-4A9E-B147-4CAA37FBF620}"/>
              </a:ext>
            </a:extLst>
          </p:cNvPr>
          <p:cNvSpPr/>
          <p:nvPr userDrawn="1"/>
        </p:nvSpPr>
        <p:spPr>
          <a:xfrm>
            <a:off x="0" y="0"/>
            <a:ext cx="405993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1"/>
            <a:ext cx="347472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FE7C49-08F2-4F4B-9DC7-9D046A4F12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143000"/>
            <a:ext cx="3474720" cy="51212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74C75D69-D919-4F63-92AB-E1B7678E0300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75530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&amp;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1"/>
            <a:ext cx="3474720" cy="6400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FE7C49-08F2-4F4B-9DC7-9D046A4F12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143000"/>
            <a:ext cx="3474720" cy="51212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BC9F09F6-C303-4330-83E4-FC5BAC60BB6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59936" y="0"/>
            <a:ext cx="8132064" cy="6858000"/>
          </a:xfrm>
          <a:solidFill>
            <a:schemeClr val="bg1">
              <a:lumMod val="85000"/>
            </a:schemeClr>
          </a:solidFill>
          <a:ln w="127000">
            <a:noFill/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41943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o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9203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Halfsie Arr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ecorative Arrow">
            <a:extLst>
              <a:ext uri="{FF2B5EF4-FFF2-40B4-BE49-F238E27FC236}">
                <a16:creationId xmlns:a16="http://schemas.microsoft.com/office/drawing/2014/main" id="{1404ED11-1EAF-4297-8BB5-17771BD4DF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6309360" cy="6858000"/>
          </a:xfrm>
          <a:prstGeom prst="rightArrow">
            <a:avLst>
              <a:gd name="adj1" fmla="val 100000"/>
              <a:gd name="adj2" fmla="val 8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4D107638-A9E9-4334-BA70-4B3D4D4EB23B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9202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Halfs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ecorative Arrow">
            <a:extLst>
              <a:ext uri="{FF2B5EF4-FFF2-40B4-BE49-F238E27FC236}">
                <a16:creationId xmlns:a16="http://schemas.microsoft.com/office/drawing/2014/main" id="{1404ED11-1EAF-4297-8BB5-17771BD4DF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4D107638-A9E9-4334-BA70-4B3D4D4EB23B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1937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old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ld Bar">
            <a:extLst>
              <a:ext uri="{FF2B5EF4-FFF2-40B4-BE49-F238E27FC236}">
                <a16:creationId xmlns:a16="http://schemas.microsoft.com/office/drawing/2014/main" id="{50FE6178-DC88-4788-BDB0-7B856173CEDC}"/>
              </a:ext>
            </a:extLst>
          </p:cNvPr>
          <p:cNvSpPr/>
          <p:nvPr userDrawn="1"/>
        </p:nvSpPr>
        <p:spPr>
          <a:xfrm>
            <a:off x="0" y="0"/>
            <a:ext cx="12192000" cy="10972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37509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>
          <p15:clr>
            <a:srgbClr val="FBAE40"/>
          </p15:clr>
        </p15:guide>
        <p15:guide id="2" orient="horz" pos="720">
          <p15:clr>
            <a:srgbClr val="FBAE40"/>
          </p15:clr>
        </p15:guide>
        <p15:guide id="4" orient="horz" pos="233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sie w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5394960" cy="6400800"/>
          </a:xfrm>
        </p:spPr>
        <p:txBody>
          <a:bodyPr lIns="182880" rIns="182880" bIns="91440" anchor="ctr" anchorCtr="1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Halfsie</a:t>
            </a:r>
            <a:r>
              <a:rPr lang="en-US" dirty="0"/>
              <a:t>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414CCD-68CA-4052-8276-22F4D39C05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1760" y="228600"/>
            <a:ext cx="5394960" cy="6400800"/>
          </a:xfrm>
        </p:spPr>
        <p:txBody>
          <a:bodyPr anchor="ctr" anchorCtr="1"/>
          <a:lstStyle>
            <a:lvl1pPr>
              <a:spcBef>
                <a:spcPts val="24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1639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sie w/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5394960" cy="6400800"/>
          </a:xfrm>
        </p:spPr>
        <p:txBody>
          <a:bodyPr lIns="457200" rIns="457200" bIns="91440" anchor="ctr" anchorCtr="1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Halfsie</a:t>
            </a:r>
            <a:r>
              <a:rPr lang="en-US" dirty="0"/>
              <a:t> Slide</a:t>
            </a:r>
          </a:p>
        </p:txBody>
      </p:sp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2952" y="0"/>
            <a:ext cx="6099048" cy="6858000"/>
          </a:xfrm>
          <a:solidFill>
            <a:schemeClr val="bg1">
              <a:lumMod val="85000"/>
            </a:schemeClr>
          </a:solidFill>
          <a:ln w="127000">
            <a:noFill/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65003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6800" y="594360"/>
            <a:ext cx="10058400" cy="5669280"/>
          </a:xfrm>
        </p:spPr>
        <p:txBody>
          <a:bodyPr lIns="91440" rIns="91440" bIns="91440" anchor="ctr" anchorCtr="0">
            <a:noAutofit/>
          </a:bodyPr>
          <a:lstStyle>
            <a:lvl1pPr algn="ctr">
              <a:lnSpc>
                <a:spcPct val="9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Quote Slid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B2D9B87-6A8D-4859-925B-5494D8AC40D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2880 w 12192000"/>
              <a:gd name="connsiteY0" fmla="*/ 182880 h 6858000"/>
              <a:gd name="connsiteX1" fmla="*/ 182880 w 12192000"/>
              <a:gd name="connsiteY1" fmla="*/ 6675120 h 6858000"/>
              <a:gd name="connsiteX2" fmla="*/ 12009120 w 12192000"/>
              <a:gd name="connsiteY2" fmla="*/ 6675120 h 6858000"/>
              <a:gd name="connsiteX3" fmla="*/ 12009120 w 12192000"/>
              <a:gd name="connsiteY3" fmla="*/ 182880 h 6858000"/>
              <a:gd name="connsiteX4" fmla="*/ 1200912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12188952 w 12192000"/>
              <a:gd name="connsiteY7" fmla="*/ 6858000 h 6858000"/>
              <a:gd name="connsiteX8" fmla="*/ 12009120 w 12192000"/>
              <a:gd name="connsiteY8" fmla="*/ 6858000 h 6858000"/>
              <a:gd name="connsiteX9" fmla="*/ 182880 w 12192000"/>
              <a:gd name="connsiteY9" fmla="*/ 6858000 h 6858000"/>
              <a:gd name="connsiteX10" fmla="*/ 1 w 12192000"/>
              <a:gd name="connsiteY10" fmla="*/ 6858000 h 6858000"/>
              <a:gd name="connsiteX11" fmla="*/ 0 w 12192000"/>
              <a:gd name="connsiteY11" fmla="*/ 6858000 h 6858000"/>
              <a:gd name="connsiteX12" fmla="*/ 0 w 12192000"/>
              <a:gd name="connsiteY12" fmla="*/ 0 h 6858000"/>
              <a:gd name="connsiteX13" fmla="*/ 182880 w 12192000"/>
              <a:gd name="connsiteY13" fmla="*/ 0 h 6858000"/>
              <a:gd name="connsiteX14" fmla="*/ 182880 w 12192000"/>
              <a:gd name="connsiteY14" fmla="*/ 0 h 6858000"/>
              <a:gd name="connsiteX15" fmla="*/ 12009120 w 12192000"/>
              <a:gd name="connsiteY1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858000">
                <a:moveTo>
                  <a:pt x="182880" y="182880"/>
                </a:moveTo>
                <a:lnTo>
                  <a:pt x="182880" y="6675120"/>
                </a:lnTo>
                <a:lnTo>
                  <a:pt x="12009120" y="6675120"/>
                </a:lnTo>
                <a:lnTo>
                  <a:pt x="12009120" y="182880"/>
                </a:lnTo>
                <a:close/>
                <a:moveTo>
                  <a:pt x="1200912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88952" y="6858000"/>
                </a:lnTo>
                <a:lnTo>
                  <a:pt x="12009120" y="6858000"/>
                </a:lnTo>
                <a:lnTo>
                  <a:pt x="182880" y="6858000"/>
                </a:lnTo>
                <a:lnTo>
                  <a:pt x="1" y="6858000"/>
                </a:lnTo>
                <a:lnTo>
                  <a:pt x="0" y="6858000"/>
                </a:lnTo>
                <a:lnTo>
                  <a:pt x="0" y="0"/>
                </a:lnTo>
                <a:lnTo>
                  <a:pt x="182880" y="0"/>
                </a:lnTo>
                <a:lnTo>
                  <a:pt x="182880" y="0"/>
                </a:lnTo>
                <a:lnTo>
                  <a:pt x="12009120" y="0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40748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Go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53207828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F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Fries">
            <a:extLst>
              <a:ext uri="{FF2B5EF4-FFF2-40B4-BE49-F238E27FC236}">
                <a16:creationId xmlns:a16="http://schemas.microsoft.com/office/drawing/2014/main" id="{37FC8A42-29F1-429E-AD3F-2C95689731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1522" b="29500"/>
          <a:stretch/>
        </p:blipFill>
        <p:spPr>
          <a:xfrm>
            <a:off x="7970521" y="411480"/>
            <a:ext cx="4221480" cy="6446520"/>
          </a:xfrm>
          <a:prstGeom prst="rect">
            <a:avLst/>
          </a:prstGeom>
        </p:spPr>
      </p:pic>
      <p:sp>
        <p:nvSpPr>
          <p:cNvPr id="7" name="Arch">
            <a:extLst>
              <a:ext uri="{FF2B5EF4-FFF2-40B4-BE49-F238E27FC236}">
                <a16:creationId xmlns:a16="http://schemas.microsoft.com/office/drawing/2014/main" id="{0E5B4E0A-9AA3-4A98-B729-B7D3A3150C31}"/>
              </a:ext>
            </a:extLst>
          </p:cNvPr>
          <p:cNvSpPr>
            <a:spLocks noChangeAspect="1"/>
          </p:cNvSpPr>
          <p:nvPr/>
        </p:nvSpPr>
        <p:spPr>
          <a:xfrm>
            <a:off x="381000" y="320040"/>
            <a:ext cx="731483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8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749808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749808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487796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up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441448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3AF01502-766D-4FD3-83B3-C3E989F234B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437638" y="0"/>
            <a:ext cx="2441448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6CFB9CD3-4D23-4FBF-935D-DE38A97367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875276" y="0"/>
            <a:ext cx="2441448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E8DE0167-0B73-4177-8A6A-CAF969065B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12914" y="0"/>
            <a:ext cx="2441448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1B301C60-01B3-4286-BB15-50546FB0D97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750552" y="0"/>
            <a:ext cx="2441448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ED83A722-9643-45ED-9575-43427A35AF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108960"/>
            <a:ext cx="2441448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09D99A6E-6DC8-4957-95E5-F027C381B4B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437638" y="3108960"/>
            <a:ext cx="2441448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42575524-686F-4AC3-9FB3-46540407BB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875276" y="3108960"/>
            <a:ext cx="2441448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29AD3DF0-D818-4B10-8B0D-81E4B467D62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312914" y="3108960"/>
            <a:ext cx="2441448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DDB78F27-A8F5-4AC2-B9E1-72DEC377A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50552" y="3108960"/>
            <a:ext cx="2441448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75965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up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993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3AF01502-766D-4FD3-83B3-C3E989F234B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66032" y="0"/>
            <a:ext cx="405993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6CFB9CD3-4D23-4FBF-935D-DE38A97367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32064" y="0"/>
            <a:ext cx="405993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ED83A722-9643-45ED-9575-43427A35AF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108960"/>
            <a:ext cx="405993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09D99A6E-6DC8-4957-95E5-F027C381B4B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66032" y="3108960"/>
            <a:ext cx="405993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42575524-686F-4AC3-9FB3-46540407BB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32064" y="3108960"/>
            <a:ext cx="405993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99214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up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263640"/>
          </a:xfrm>
          <a:solidFill>
            <a:schemeClr val="bg1">
              <a:lumMod val="85000"/>
            </a:schemeClr>
          </a:solidFill>
          <a:ln w="38100">
            <a:noFill/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63389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rch">
            <a:extLst>
              <a:ext uri="{FF2B5EF4-FFF2-40B4-BE49-F238E27FC236}">
                <a16:creationId xmlns:a16="http://schemas.microsoft.com/office/drawing/2014/main" id="{DB7569CE-CCCE-49E0-A326-5FB24671C246}"/>
              </a:ext>
            </a:extLst>
          </p:cNvPr>
          <p:cNvSpPr>
            <a:spLocks noChangeAspect="1"/>
          </p:cNvSpPr>
          <p:nvPr userDrawn="1"/>
        </p:nvSpPr>
        <p:spPr>
          <a:xfrm>
            <a:off x="5103271" y="2148840"/>
            <a:ext cx="1985459" cy="173736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8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43434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5400" b="1">
                <a:solidFill>
                  <a:schemeClr val="tx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906181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ile">
            <a:extLst>
              <a:ext uri="{FF2B5EF4-FFF2-40B4-BE49-F238E27FC236}">
                <a16:creationId xmlns:a16="http://schemas.microsoft.com/office/drawing/2014/main" id="{C3921F8B-7D89-4D3C-A0B7-A4A5676B0457}"/>
              </a:ext>
            </a:extLst>
          </p:cNvPr>
          <p:cNvSpPr/>
          <p:nvPr/>
        </p:nvSpPr>
        <p:spPr>
          <a:xfrm>
            <a:off x="3718561" y="1894403"/>
            <a:ext cx="4747264" cy="2059550"/>
          </a:xfrm>
          <a:custGeom>
            <a:avLst/>
            <a:gdLst>
              <a:gd name="connsiteX0" fmla="*/ 5045752 w 5851802"/>
              <a:gd name="connsiteY0" fmla="*/ 0 h 2538742"/>
              <a:gd name="connsiteX1" fmla="*/ 4895966 w 5851802"/>
              <a:gd name="connsiteY1" fmla="*/ 313535 h 2538742"/>
              <a:gd name="connsiteX2" fmla="*/ 5156187 w 5851802"/>
              <a:gd name="connsiteY2" fmla="*/ 427778 h 2538742"/>
              <a:gd name="connsiteX3" fmla="*/ 2929710 w 5851802"/>
              <a:gd name="connsiteY3" fmla="*/ 1942138 h 2538742"/>
              <a:gd name="connsiteX4" fmla="*/ 704501 w 5851802"/>
              <a:gd name="connsiteY4" fmla="*/ 426509 h 2538742"/>
              <a:gd name="connsiteX5" fmla="*/ 964722 w 5851802"/>
              <a:gd name="connsiteY5" fmla="*/ 312265 h 2538742"/>
              <a:gd name="connsiteX6" fmla="*/ 814937 w 5851802"/>
              <a:gd name="connsiteY6" fmla="*/ 0 h 2538742"/>
              <a:gd name="connsiteX7" fmla="*/ 0 w 5851802"/>
              <a:gd name="connsiteY7" fmla="*/ 371926 h 2538742"/>
              <a:gd name="connsiteX8" fmla="*/ 144708 w 5851802"/>
              <a:gd name="connsiteY8" fmla="*/ 680383 h 2538742"/>
              <a:gd name="connsiteX9" fmla="*/ 435394 w 5851802"/>
              <a:gd name="connsiteY9" fmla="*/ 545830 h 2538742"/>
              <a:gd name="connsiteX10" fmla="*/ 2929710 w 5851802"/>
              <a:gd name="connsiteY10" fmla="*/ 2546359 h 2538742"/>
              <a:gd name="connsiteX11" fmla="*/ 5425294 w 5851802"/>
              <a:gd name="connsiteY11" fmla="*/ 545830 h 2538742"/>
              <a:gd name="connsiteX12" fmla="*/ 5715980 w 5851802"/>
              <a:gd name="connsiteY12" fmla="*/ 680383 h 2538742"/>
              <a:gd name="connsiteX13" fmla="*/ 5860688 w 5851802"/>
              <a:gd name="connsiteY13" fmla="*/ 371926 h 2538742"/>
              <a:gd name="connsiteX14" fmla="*/ 5045752 w 5851802"/>
              <a:gd name="connsiteY14" fmla="*/ 0 h 2538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51802" h="2538742">
                <a:moveTo>
                  <a:pt x="5045752" y="0"/>
                </a:moveTo>
                <a:lnTo>
                  <a:pt x="4895966" y="313535"/>
                </a:lnTo>
                <a:lnTo>
                  <a:pt x="5156187" y="427778"/>
                </a:lnTo>
                <a:cubicBezTo>
                  <a:pt x="4774106" y="1535939"/>
                  <a:pt x="3698949" y="1942138"/>
                  <a:pt x="2929710" y="1942138"/>
                </a:cubicBezTo>
                <a:cubicBezTo>
                  <a:pt x="2160470" y="1942138"/>
                  <a:pt x="1086582" y="1535939"/>
                  <a:pt x="704501" y="426509"/>
                </a:cubicBezTo>
                <a:lnTo>
                  <a:pt x="964722" y="312265"/>
                </a:lnTo>
                <a:lnTo>
                  <a:pt x="814937" y="0"/>
                </a:lnTo>
                <a:lnTo>
                  <a:pt x="0" y="371926"/>
                </a:lnTo>
                <a:lnTo>
                  <a:pt x="144708" y="680383"/>
                </a:lnTo>
                <a:lnTo>
                  <a:pt x="435394" y="545830"/>
                </a:lnTo>
                <a:cubicBezTo>
                  <a:pt x="586450" y="1120855"/>
                  <a:pt x="1375999" y="2546359"/>
                  <a:pt x="2929710" y="2546359"/>
                </a:cubicBezTo>
                <a:cubicBezTo>
                  <a:pt x="4483420" y="2546359"/>
                  <a:pt x="5274239" y="1120855"/>
                  <a:pt x="5425294" y="545830"/>
                </a:cubicBezTo>
                <a:lnTo>
                  <a:pt x="5715980" y="680383"/>
                </a:lnTo>
                <a:lnTo>
                  <a:pt x="5860688" y="371926"/>
                </a:lnTo>
                <a:lnTo>
                  <a:pt x="5045752" y="0"/>
                </a:lnTo>
                <a:close/>
              </a:path>
            </a:pathLst>
          </a:custGeom>
          <a:solidFill>
            <a:schemeClr val="accent1"/>
          </a:solidFill>
          <a:ln w="126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4343400"/>
            <a:ext cx="11522076" cy="1097280"/>
          </a:xfrm>
          <a:prstGeom prst="rect">
            <a:avLst/>
          </a:prstGeom>
        </p:spPr>
        <p:txBody>
          <a:bodyPr/>
          <a:lstStyle>
            <a:lvl1pPr algn="ctr">
              <a:defRPr sz="5400" b="1">
                <a:solidFill>
                  <a:schemeClr val="bg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192265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2" y="1600200"/>
            <a:ext cx="11522076" cy="1828800"/>
          </a:xfrm>
        </p:spPr>
        <p:txBody>
          <a:bodyPr lIns="91440" rIns="91440" anchor="b">
            <a:noAutofit/>
          </a:bodyPr>
          <a:lstStyle>
            <a:lvl1pPr algn="ctr">
              <a:defRPr sz="4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429000"/>
            <a:ext cx="11522076" cy="1828800"/>
          </a:xfrm>
        </p:spPr>
        <p:txBody>
          <a:bodyPr lIns="137160" tIns="182880" rIns="137160" bIns="182880" anchor="t" anchorCtr="1"/>
          <a:lstStyle>
            <a:lvl1pPr marL="0" indent="0" algn="l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17715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Big M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ld Bar">
            <a:extLst>
              <a:ext uri="{FF2B5EF4-FFF2-40B4-BE49-F238E27FC236}">
                <a16:creationId xmlns:a16="http://schemas.microsoft.com/office/drawing/2014/main" id="{F6920A3E-2C4E-478B-B0DE-7E4F568C9636}"/>
              </a:ext>
            </a:extLst>
          </p:cNvPr>
          <p:cNvSpPr/>
          <p:nvPr userDrawn="1"/>
        </p:nvSpPr>
        <p:spPr>
          <a:xfrm>
            <a:off x="0" y="5029200"/>
            <a:ext cx="12188952" cy="1828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5" name="Big Mac">
            <a:extLst>
              <a:ext uri="{FF2B5EF4-FFF2-40B4-BE49-F238E27FC236}">
                <a16:creationId xmlns:a16="http://schemas.microsoft.com/office/drawing/2014/main" id="{C008B3CA-55B9-44B7-B746-5CDED560DE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6819" r="55277" b="7954"/>
          <a:stretch/>
        </p:blipFill>
        <p:spPr>
          <a:xfrm>
            <a:off x="8016240" y="0"/>
            <a:ext cx="4175760" cy="6858000"/>
          </a:xfrm>
          <a:prstGeom prst="rect">
            <a:avLst/>
          </a:prstGeom>
        </p:spPr>
      </p:pic>
      <p:sp>
        <p:nvSpPr>
          <p:cNvPr id="8" name="Arch">
            <a:extLst>
              <a:ext uri="{FF2B5EF4-FFF2-40B4-BE49-F238E27FC236}">
                <a16:creationId xmlns:a16="http://schemas.microsoft.com/office/drawing/2014/main" id="{BF030D43-5F75-4F09-A115-9C3F3BA5ADF0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20040"/>
            <a:ext cx="731483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749808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749808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034122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hee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ch">
            <a:extLst>
              <a:ext uri="{FF2B5EF4-FFF2-40B4-BE49-F238E27FC236}">
                <a16:creationId xmlns:a16="http://schemas.microsoft.com/office/drawing/2014/main" id="{0E5B4E0A-9AA3-4A98-B729-B7D3A3150C31}"/>
              </a:ext>
            </a:extLst>
          </p:cNvPr>
          <p:cNvSpPr>
            <a:spLocks noChangeAspect="1"/>
          </p:cNvSpPr>
          <p:nvPr/>
        </p:nvSpPr>
        <p:spPr>
          <a:xfrm>
            <a:off x="11079480" y="5623560"/>
            <a:ext cx="731483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" name="cheese drip">
            <a:extLst>
              <a:ext uri="{FF2B5EF4-FFF2-40B4-BE49-F238E27FC236}">
                <a16:creationId xmlns:a16="http://schemas.microsoft.com/office/drawing/2014/main" id="{7285C890-039C-4F51-A12E-E9D769E45F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38524" y="5029200"/>
            <a:ext cx="2207172" cy="365760"/>
          </a:xfrm>
          <a:prstGeom prst="rect">
            <a:avLst/>
          </a:prstGeom>
        </p:spPr>
      </p:pic>
      <p:sp>
        <p:nvSpPr>
          <p:cNvPr id="10" name="Gold Bar">
            <a:extLst>
              <a:ext uri="{FF2B5EF4-FFF2-40B4-BE49-F238E27FC236}">
                <a16:creationId xmlns:a16="http://schemas.microsoft.com/office/drawing/2014/main" id="{F6920A3E-2C4E-478B-B0DE-7E4F568C9636}"/>
              </a:ext>
            </a:extLst>
          </p:cNvPr>
          <p:cNvSpPr/>
          <p:nvPr userDrawn="1"/>
        </p:nvSpPr>
        <p:spPr>
          <a:xfrm>
            <a:off x="0" y="0"/>
            <a:ext cx="12188952" cy="5029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1152144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1152144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507220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es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ld Bar">
            <a:extLst>
              <a:ext uri="{FF2B5EF4-FFF2-40B4-BE49-F238E27FC236}">
                <a16:creationId xmlns:a16="http://schemas.microsoft.com/office/drawing/2014/main" id="{F6920A3E-2C4E-478B-B0DE-7E4F568C9636}"/>
              </a:ext>
            </a:extLst>
          </p:cNvPr>
          <p:cNvSpPr/>
          <p:nvPr userDrawn="1"/>
        </p:nvSpPr>
        <p:spPr>
          <a:xfrm>
            <a:off x="0" y="0"/>
            <a:ext cx="12188952" cy="5029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2" name="Seeds White">
            <a:extLst>
              <a:ext uri="{FF2B5EF4-FFF2-40B4-BE49-F238E27FC236}">
                <a16:creationId xmlns:a16="http://schemas.microsoft.com/office/drawing/2014/main" id="{C0CFE324-34A0-4915-A0D1-A613F744D4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29" t="51506" r="13144" b="-179"/>
          <a:stretch/>
        </p:blipFill>
        <p:spPr>
          <a:xfrm>
            <a:off x="0" y="-1"/>
            <a:ext cx="12192000" cy="5029200"/>
          </a:xfrm>
          <a:prstGeom prst="rect">
            <a:avLst/>
          </a:prstGeom>
        </p:spPr>
      </p:pic>
      <p:sp>
        <p:nvSpPr>
          <p:cNvPr id="7" name="Arch">
            <a:extLst>
              <a:ext uri="{FF2B5EF4-FFF2-40B4-BE49-F238E27FC236}">
                <a16:creationId xmlns:a16="http://schemas.microsoft.com/office/drawing/2014/main" id="{0E5B4E0A-9AA3-4A98-B729-B7D3A3150C31}"/>
              </a:ext>
            </a:extLst>
          </p:cNvPr>
          <p:cNvSpPr>
            <a:spLocks noChangeAspect="1"/>
          </p:cNvSpPr>
          <p:nvPr/>
        </p:nvSpPr>
        <p:spPr>
          <a:xfrm>
            <a:off x="11079480" y="5623560"/>
            <a:ext cx="731483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80" y="5257800"/>
            <a:ext cx="1152144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  <a:p>
            <a:r>
              <a:rPr lang="en-US" dirty="0"/>
              <a:t>Presentation 1</a:t>
            </a:r>
          </a:p>
          <a:p>
            <a:r>
              <a:rPr lang="en-US" dirty="0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5280" y="1600200"/>
            <a:ext cx="1152144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400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398079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11522074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0981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eeds White">
            <a:extLst>
              <a:ext uri="{FF2B5EF4-FFF2-40B4-BE49-F238E27FC236}">
                <a16:creationId xmlns:a16="http://schemas.microsoft.com/office/drawing/2014/main" id="{BE3D037D-2B92-4D29-836F-DDD1A417FF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29" t="39374" r="13144" b="6"/>
          <a:stretch/>
        </p:blipFill>
        <p:spPr>
          <a:xfrm>
            <a:off x="0" y="-2"/>
            <a:ext cx="12192000" cy="626364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11522074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00377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pic>
        <p:nvPicPr>
          <p:cNvPr id="6" name="Seeds White">
            <a:extLst>
              <a:ext uri="{FF2B5EF4-FFF2-40B4-BE49-F238E27FC236}">
                <a16:creationId xmlns:a16="http://schemas.microsoft.com/office/drawing/2014/main" id="{136E96AD-2C38-4E08-8A7D-A524117FDF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29" t="39374" r="55207" b="6"/>
          <a:stretch/>
        </p:blipFill>
        <p:spPr>
          <a:xfrm>
            <a:off x="0" y="-2"/>
            <a:ext cx="6096000" cy="626364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228600"/>
            <a:ext cx="539496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34657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#">
            <a:extLst>
              <a:ext uri="{FF2B5EF4-FFF2-40B4-BE49-F238E27FC236}">
                <a16:creationId xmlns:a16="http://schemas.microsoft.com/office/drawing/2014/main" id="{7A0AC045-B0D9-4E25-91F7-9CC620BECAD4}"/>
              </a:ext>
            </a:extLst>
          </p:cNvPr>
          <p:cNvSpPr txBox="1"/>
          <p:nvPr userDrawn="1"/>
        </p:nvSpPr>
        <p:spPr>
          <a:xfrm>
            <a:off x="11694817" y="6492240"/>
            <a:ext cx="161903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spcBef>
                <a:spcPts val="600"/>
              </a:spcBef>
              <a:defRPr sz="1000"/>
            </a:lvl1pPr>
          </a:lstStyle>
          <a:p>
            <a:pPr lvl="0"/>
            <a:fld id="{25589270-315C-446D-8A4F-4844CE0CD1E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5D60C56C-6A14-43BE-BFEF-358E6A64CC62}"/>
              </a:ext>
            </a:extLst>
          </p:cNvPr>
          <p:cNvSpPr txBox="1"/>
          <p:nvPr userDrawn="1"/>
        </p:nvSpPr>
        <p:spPr>
          <a:xfrm>
            <a:off x="335280" y="6492240"/>
            <a:ext cx="823944" cy="14042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000" dirty="0"/>
              <a:t>© McDonald’s 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BA985D98-3239-4503-8D46-06AE345F49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143000"/>
            <a:ext cx="11522075" cy="5120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66EA084-203F-4328-9093-8ED05ED87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8601"/>
            <a:ext cx="11522075" cy="640080"/>
          </a:xfrm>
          <a:prstGeom prst="rect">
            <a:avLst/>
          </a:prstGeom>
        </p:spPr>
        <p:txBody>
          <a:bodyPr vert="horz" lIns="0" tIns="45720" rIns="0" bIns="0" rtlCol="0" anchor="ctr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lide</a:t>
            </a:r>
          </a:p>
        </p:txBody>
      </p:sp>
    </p:spTree>
    <p:custDataLst>
      <p:tags r:id="rId37"/>
    </p:custDataLst>
    <p:extLst>
      <p:ext uri="{BB962C8B-B14F-4D97-AF65-F5344CB8AC3E}">
        <p14:creationId xmlns:p14="http://schemas.microsoft.com/office/powerpoint/2010/main" val="90930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80000"/>
        </a:lnSpc>
        <a:spcBef>
          <a:spcPts val="60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4625" indent="-174625" algn="l" defTabSz="914400" rtl="0" eaLnBrk="1" latinLnBrk="0" hangingPunct="1">
        <a:lnSpc>
          <a:spcPct val="90000"/>
        </a:lnSpc>
        <a:spcBef>
          <a:spcPts val="1800"/>
        </a:spcBef>
        <a:buClr>
          <a:schemeClr val="accent2"/>
        </a:buClr>
        <a:buSzPct val="85000"/>
        <a:buFont typeface="Symbol" panose="05050102010706020507" pitchFamily="18" charset="2"/>
        <a:buChar char="·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231775" algn="l" defTabSz="914400" rtl="0" eaLnBrk="1" latinLnBrk="0" hangingPunct="1">
        <a:lnSpc>
          <a:spcPct val="90000"/>
        </a:lnSpc>
        <a:spcBef>
          <a:spcPts val="200"/>
        </a:spcBef>
        <a:buClr>
          <a:schemeClr val="accent2"/>
        </a:buClr>
        <a:buFont typeface="Speedee" panose="020B06030305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9775" indent="-168275" algn="l" defTabSz="914400" rtl="0" eaLnBrk="1" latinLnBrk="0" hangingPunct="1">
        <a:lnSpc>
          <a:spcPct val="90000"/>
        </a:lnSpc>
        <a:spcBef>
          <a:spcPts val="200"/>
        </a:spcBef>
        <a:buClr>
          <a:schemeClr val="tx2"/>
        </a:buClr>
        <a:buSzPct val="85000"/>
        <a:buFont typeface="Symbol" panose="05050102010706020507" pitchFamily="18" charset="2"/>
        <a:buChar char="·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73038" algn="l" defTabSz="914400" rtl="0" eaLnBrk="1" latinLnBrk="0" hangingPunct="1">
        <a:lnSpc>
          <a:spcPct val="90000"/>
        </a:lnSpc>
        <a:spcBef>
          <a:spcPts val="200"/>
        </a:spcBef>
        <a:buClr>
          <a:schemeClr val="accent2"/>
        </a:buClr>
        <a:buFont typeface="Speedee" panose="020B06030305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96975" indent="-169863" algn="l" defTabSz="914400" rtl="0" eaLnBrk="1" latinLnBrk="0" hangingPunct="1">
        <a:lnSpc>
          <a:spcPct val="90000"/>
        </a:lnSpc>
        <a:spcBef>
          <a:spcPts val="200"/>
        </a:spcBef>
        <a:buClr>
          <a:schemeClr val="accent2"/>
        </a:buClr>
        <a:buFont typeface="Speedee" panose="020B06030305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pos="1910">
          <p15:clr>
            <a:srgbClr val="F26B43"/>
          </p15:clr>
        </p15:guide>
        <p15:guide id="5" pos="5770">
          <p15:clr>
            <a:srgbClr val="F26B43"/>
          </p15:clr>
        </p15:guide>
        <p15:guide id="7" orient="horz" pos="144">
          <p15:clr>
            <a:srgbClr val="F26B43"/>
          </p15:clr>
        </p15:guide>
        <p15:guide id="8" orient="horz" pos="4176">
          <p15:clr>
            <a:srgbClr val="F26B43"/>
          </p15:clr>
        </p15:guide>
        <p15:guide id="11" orient="horz" pos="1440">
          <p15:clr>
            <a:srgbClr val="F26B43"/>
          </p15:clr>
        </p15:guide>
        <p15:guide id="12" orient="horz" pos="2880">
          <p15:clr>
            <a:srgbClr val="F26B43"/>
          </p15:clr>
        </p15:guide>
        <p15:guide id="13" orient="horz" pos="2160">
          <p15:clr>
            <a:srgbClr val="F26B43"/>
          </p15:clr>
        </p15:guide>
        <p15:guide id="14" orient="horz" pos="39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8.xml"/><Relationship Id="rId4" Type="http://schemas.openxmlformats.org/officeDocument/2006/relationships/image" Target="../media/image11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0.xml"/><Relationship Id="rId4" Type="http://schemas.openxmlformats.org/officeDocument/2006/relationships/image" Target="../media/image11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1.xml"/><Relationship Id="rId4" Type="http://schemas.openxmlformats.org/officeDocument/2006/relationships/image" Target="../media/image1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2.xml"/><Relationship Id="rId4" Type="http://schemas.openxmlformats.org/officeDocument/2006/relationships/image" Target="../media/image11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ctrTitle"/>
          </p:nvPr>
        </p:nvSpPr>
        <p:spPr>
          <a:xfrm>
            <a:off x="335280" y="1600200"/>
            <a:ext cx="8031972" cy="2352675"/>
          </a:xfrm>
        </p:spPr>
        <p:txBody>
          <a:bodyPr/>
          <a:lstStyle/>
          <a:p>
            <a:r>
              <a:rPr lang="en-US" sz="3200" dirty="0"/>
              <a:t>EOM Automation</a:t>
            </a:r>
          </a:p>
        </p:txBody>
      </p:sp>
      <p:sp>
        <p:nvSpPr>
          <p:cNvPr id="16" name="Subtitle 3">
            <a:extLst>
              <a:ext uri="{FF2B5EF4-FFF2-40B4-BE49-F238E27FC236}">
                <a16:creationId xmlns:a16="http://schemas.microsoft.com/office/drawing/2014/main" id="{E2208C9E-160F-4546-BA16-108EA95F07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280" y="5257800"/>
            <a:ext cx="7498080" cy="1371600"/>
          </a:xfrm>
        </p:spPr>
        <p:txBody>
          <a:bodyPr/>
          <a:lstStyle/>
          <a:p>
            <a:r>
              <a:rPr lang="en-US" dirty="0"/>
              <a:t>14 June 2024</a:t>
            </a:r>
          </a:p>
          <a:p>
            <a:endParaRPr lang="en-US" dirty="0"/>
          </a:p>
          <a:p>
            <a:r>
              <a:rPr lang="en-US" i="1" dirty="0"/>
              <a:t>Data &amp; Analytics Depart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12070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Project Charter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342856165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85C38-535D-934E-0349-0150B64F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Project Charter</a:t>
            </a:r>
          </a:p>
        </p:txBody>
      </p:sp>
      <p:graphicFrame>
        <p:nvGraphicFramePr>
          <p:cNvPr id="6" name="Group 48">
            <a:extLst>
              <a:ext uri="{FF2B5EF4-FFF2-40B4-BE49-F238E27FC236}">
                <a16:creationId xmlns:a16="http://schemas.microsoft.com/office/drawing/2014/main" id="{16BF4DFF-06F0-7930-D27D-09252AA88AFC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2451949"/>
              </p:ext>
            </p:extLst>
          </p:nvPr>
        </p:nvGraphicFramePr>
        <p:xfrm>
          <a:off x="334962" y="978466"/>
          <a:ext cx="11522077" cy="5601238"/>
        </p:xfrm>
        <a:graphic>
          <a:graphicData uri="http://schemas.openxmlformats.org/drawingml/2006/table">
            <a:tbl>
              <a:tblPr/>
              <a:tblGrid>
                <a:gridCol w="2063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3221">
                  <a:extLst>
                    <a:ext uri="{9D8B030D-6E8A-4147-A177-3AD203B41FA5}">
                      <a16:colId xmlns:a16="http://schemas.microsoft.com/office/drawing/2014/main" val="3294785675"/>
                    </a:ext>
                  </a:extLst>
                </a:gridCol>
                <a:gridCol w="2063221">
                  <a:extLst>
                    <a:ext uri="{9D8B030D-6E8A-4147-A177-3AD203B41FA5}">
                      <a16:colId xmlns:a16="http://schemas.microsoft.com/office/drawing/2014/main" val="3634363057"/>
                    </a:ext>
                  </a:extLst>
                </a:gridCol>
                <a:gridCol w="2810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22402">
                  <a:extLst>
                    <a:ext uri="{9D8B030D-6E8A-4147-A177-3AD203B41FA5}">
                      <a16:colId xmlns:a16="http://schemas.microsoft.com/office/drawing/2014/main" val="4072702345"/>
                    </a:ext>
                  </a:extLst>
                </a:gridCol>
              </a:tblGrid>
              <a:tr h="491886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Opportunity Statement</a:t>
                      </a:r>
                    </a:p>
                  </a:txBody>
                  <a:tcPr marL="45720" marR="45720" marT="18289" marB="18289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Goals</a:t>
                      </a:r>
                      <a:r>
                        <a:rPr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 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MS PGothic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(What does success look like?)</a:t>
                      </a:r>
                    </a:p>
                  </a:txBody>
                  <a:tcPr marL="45720" marR="45720" marT="18289" marB="18289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Scope</a:t>
                      </a:r>
                    </a:p>
                  </a:txBody>
                  <a:tcPr marL="45720" marR="45720" marT="18289" marB="18289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5278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EOM consists of:</a:t>
                      </a: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Planning (in Sep – 1 </a:t>
                      </a:r>
                      <a:r>
                        <a:rPr lang="en-US" sz="1200" b="0" dirty="0" err="1">
                          <a:latin typeface="+mn-lt"/>
                        </a:rPr>
                        <a:t>yr</a:t>
                      </a:r>
                      <a:r>
                        <a:rPr lang="en-US" sz="1200" b="0" dirty="0">
                          <a:latin typeface="+mn-lt"/>
                        </a:rPr>
                        <a:t> before)</a:t>
                      </a: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Initial (by 23</a:t>
                      </a:r>
                      <a:r>
                        <a:rPr lang="en-US" sz="1200" b="0" baseline="30000" dirty="0">
                          <a:latin typeface="+mn-lt"/>
                        </a:rPr>
                        <a:t>rd</a:t>
                      </a:r>
                      <a:r>
                        <a:rPr lang="en-US" sz="1200" b="0" dirty="0">
                          <a:latin typeface="+mn-lt"/>
                        </a:rPr>
                        <a:t> every month)</a:t>
                      </a: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Mid month (by 15</a:t>
                      </a:r>
                      <a:r>
                        <a:rPr lang="en-US" sz="1200" b="0" baseline="30000" dirty="0">
                          <a:latin typeface="+mn-lt"/>
                        </a:rPr>
                        <a:t>th</a:t>
                      </a:r>
                      <a:r>
                        <a:rPr lang="en-US" sz="1200" b="0" dirty="0">
                          <a:latin typeface="+mn-lt"/>
                        </a:rPr>
                        <a:t> month) + Initial for next month</a:t>
                      </a: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latin typeface="+mn-lt"/>
                        </a:rPr>
                        <a:t>Final (by 30</a:t>
                      </a:r>
                      <a:r>
                        <a:rPr lang="en-US" sz="1200" b="0" baseline="30000" dirty="0">
                          <a:latin typeface="+mn-lt"/>
                        </a:rPr>
                        <a:t>th</a:t>
                      </a:r>
                      <a:r>
                        <a:rPr lang="en-US" sz="1200" b="0" dirty="0">
                          <a:latin typeface="+mn-lt"/>
                        </a:rPr>
                        <a:t> month)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n-US" sz="1200" b="0" dirty="0">
                          <a:latin typeface="+mn-lt"/>
                        </a:rPr>
                        <a:t>User face a few challenges in preparing the report or analyze the data as </a:t>
                      </a:r>
                      <a:r>
                        <a:rPr lang="en-US" sz="1200" dirty="0">
                          <a:latin typeface="+mn-lt"/>
                        </a:rPr>
                        <a:t>follows: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MY" sz="12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ifferent &amp; </a:t>
                      </a:r>
                      <a:r>
                        <a:rPr lang="en-MY" sz="12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various sources </a:t>
                      </a:r>
                      <a:r>
                        <a:rPr lang="en-MY" sz="12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MARS, HRMS, MRMX, PDF From EPS)</a:t>
                      </a:r>
                      <a:endParaRPr lang="en-MY" sz="12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MY" sz="12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Possibility of </a:t>
                      </a:r>
                      <a:r>
                        <a:rPr lang="en-MY" sz="12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human error </a:t>
                      </a:r>
                      <a:r>
                        <a:rPr lang="en-MY" sz="1200" b="0" i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uring data entry that will relate to data accuracy issue</a:t>
                      </a:r>
                      <a:endParaRPr lang="en-MY" sz="12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MY" sz="12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ime consuming </a:t>
                      </a:r>
                      <a:r>
                        <a:rPr lang="en-MY" sz="12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ue to </a:t>
                      </a:r>
                      <a:r>
                        <a:rPr lang="en-MY" sz="12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manually keying in </a:t>
                      </a:r>
                      <a:r>
                        <a:rPr lang="en-MY" sz="12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and getting the data available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n-MY" sz="12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ocuments received by the RGM are</a:t>
                      </a:r>
                      <a:r>
                        <a:rPr lang="en-MY" sz="12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 not in editable format </a:t>
                      </a:r>
                      <a:r>
                        <a:rPr lang="en-MY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such as Bill Ledger from Finance, Planning data from Business Insight </a:t>
                      </a:r>
                      <a:endParaRPr lang="en-MY" sz="120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endParaRPr lang="en-MY" sz="1200" b="1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endParaRPr lang="en-MY" sz="1200" b="1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45720" marR="45720" marT="45700" marB="45700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71450" lvl="0" indent="-171450" algn="l" defTabSz="769938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SzPct val="120000"/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imary goal: </a:t>
                      </a:r>
                    </a:p>
                    <a:p>
                      <a:pPr marL="174625" lvl="0" indent="0" algn="l" defTabSz="769938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SzPct val="120000"/>
                        <a:buFont typeface="Arial" panose="020B0604020202020204" pitchFamily="34" charset="0"/>
                        <a:buNone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duce the time taken to prepare the EOM</a:t>
                      </a:r>
                    </a:p>
                    <a:p>
                      <a:pPr marL="174625" lvl="0" indent="0" algn="l" defTabSz="769938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SzPct val="120000"/>
                        <a:buFont typeface="Arial" panose="020B0604020202020204" pitchFamily="34" charset="0"/>
                        <a:buNone/>
                      </a:pPr>
                      <a:r>
                        <a:rPr kumimoji="0" lang="en-US" altLang="zh-TW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aseline:</a:t>
                      </a:r>
                    </a:p>
                    <a:p>
                      <a:pPr marL="174625" lvl="0" indent="0" algn="l" defTabSz="769938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SzPct val="120000"/>
                        <a:buFont typeface="Arial" panose="020B0604020202020204" pitchFamily="34" charset="0"/>
                        <a:buNone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veragely 3-4 hours</a:t>
                      </a:r>
                    </a:p>
                    <a:p>
                      <a:pPr marL="174625" lvl="0" indent="0" algn="l" defTabSz="769938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SzPct val="120000"/>
                        <a:buFont typeface="Arial" panose="020B0604020202020204" pitchFamily="34" charset="0"/>
                        <a:buNone/>
                      </a:pPr>
                      <a:r>
                        <a:rPr kumimoji="0" lang="en-US" altLang="zh-TW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arget:</a:t>
                      </a: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</a:p>
                    <a:p>
                      <a:pPr marL="174625" lvl="0" indent="0" algn="l" defTabSz="769938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SzPct val="120000"/>
                        <a:buFont typeface="Arial" panose="020B0604020202020204" pitchFamily="34" charset="0"/>
                        <a:buNone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crease Staff Productivity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TW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condary Goal:</a:t>
                      </a: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</a:p>
                    <a:p>
                      <a:pPr marL="180975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 Increase business efficiency in decision making</a:t>
                      </a:r>
                    </a:p>
                    <a:p>
                      <a:pPr marL="0" marR="0" lvl="0" indent="180975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zh-TW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seline:</a:t>
                      </a:r>
                    </a:p>
                    <a:p>
                      <a:pPr marL="180975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curacy of the data</a:t>
                      </a:r>
                      <a:endParaRPr kumimoji="0" lang="en-US" altLang="zh-TW" sz="1200" b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180975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arget:</a:t>
                      </a: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</a:p>
                    <a:p>
                      <a:pPr marL="180975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crease the accuracy of the data and proactive action</a:t>
                      </a:r>
                    </a:p>
                  </a:txBody>
                  <a:tcPr marL="45720" marR="45720" marT="45700" marB="45700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In-Scope:</a:t>
                      </a: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EOM file</a:t>
                      </a: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MRMX</a:t>
                      </a: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MARS</a:t>
                      </a: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DU360</a:t>
                      </a: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HRMS</a:t>
                      </a: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MYSSC (Finance)</a:t>
                      </a: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1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Out of Scope:</a:t>
                      </a:r>
                    </a:p>
                    <a:p>
                      <a:pPr marL="0" indent="0" algn="l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</a:pP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E-Invoice (</a:t>
                      </a:r>
                      <a:r>
                        <a:rPr kumimoji="0" lang="en-US" altLang="zh-TW" sz="1200" b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Havi</a:t>
                      </a:r>
                      <a:r>
                        <a:rPr kumimoji="0" lang="en-US" altLang="zh-TW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 Portal)</a:t>
                      </a:r>
                      <a:endParaRPr kumimoji="0" lang="en-US" altLang="zh-TW" sz="1200" b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45720" marR="45720" marT="45700" marB="45700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295">
                <a:tc gridSpan="3"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Key Deliverables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Dependency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1509500"/>
                  </a:ext>
                </a:extLst>
              </a:tr>
              <a:tr h="441316">
                <a:tc gridSpan="3">
                  <a:txBody>
                    <a:bodyPr/>
                    <a:lstStyle/>
                    <a:p>
                      <a:pPr marL="115570" marR="0" lvl="0" indent="-115570" algn="l" defTabSz="769938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Pct val="12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ta automation to prepare the EOM</a:t>
                      </a:r>
                    </a:p>
                    <a:p>
                      <a:pPr marL="115570" marR="0" lvl="0" indent="-115570" algn="l" defTabSz="769938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Tx/>
                        <a:buSzPct val="12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shboard for EOM reporting and review (D-1)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rowSpan="7" gridSpan="2">
                  <a:txBody>
                    <a:bodyPr/>
                    <a:lstStyle/>
                    <a:p>
                      <a:r>
                        <a:rPr lang="en-US" sz="1200" b="0" u="none" baseline="0" dirty="0">
                          <a:latin typeface="+mn-lt"/>
                        </a:rPr>
                        <a:t>1. Data owner consent </a:t>
                      </a:r>
                      <a:r>
                        <a:rPr lang="en-US" sz="1200" b="0" u="none" baseline="0" dirty="0" err="1">
                          <a:latin typeface="+mn-lt"/>
                        </a:rPr>
                        <a:t>i.e</a:t>
                      </a:r>
                      <a:r>
                        <a:rPr lang="en-US" sz="1200" b="0" u="none" baseline="0" dirty="0">
                          <a:latin typeface="+mn-lt"/>
                        </a:rPr>
                        <a:t> Finance and HR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7" hMerge="1">
                  <a:txBody>
                    <a:bodyPr/>
                    <a:lstStyle/>
                    <a:p>
                      <a:endParaRPr lang="en-US" sz="1200" b="1" u="sng" baseline="0" dirty="0">
                        <a:latin typeface="+mn-lt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5036937"/>
                  </a:ext>
                </a:extLst>
              </a:tr>
              <a:tr h="286031">
                <a:tc gridSpan="3"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S PGothic"/>
                        </a:rPr>
                        <a:t>Key Activities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3683096"/>
                  </a:ext>
                </a:extLst>
              </a:tr>
              <a:tr h="236734">
                <a:tc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Description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Stakeholders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Target Date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2E2E2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200" b="0" u="none" baseline="0" dirty="0">
                        <a:latin typeface="+mn-lt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0893014"/>
                  </a:ext>
                </a:extLst>
              </a:tr>
              <a:tr h="236734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Formalize project team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3843803"/>
                  </a:ext>
                </a:extLst>
              </a:tr>
              <a:tr h="236734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Progress review meeting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9251374"/>
                  </a:ext>
                </a:extLst>
              </a:tr>
              <a:tr h="236734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Final “tollgate” prior testing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5739205"/>
                  </a:ext>
                </a:extLst>
              </a:tr>
              <a:tr h="236734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/>
                        </a:rPr>
                        <a:t>Go-Live</a:t>
                      </a: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200" b="0" u="none" baseline="0" dirty="0">
                        <a:latin typeface="+mn-lt"/>
                      </a:endParaRPr>
                    </a:p>
                  </a:txBody>
                  <a:tcPr marL="45720" marR="45720" marT="18289" marB="1828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MY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4006810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B8E338E-278A-3429-3D75-B78EB6C07EBE}"/>
              </a:ext>
            </a:extLst>
          </p:cNvPr>
          <p:cNvSpPr/>
          <p:nvPr/>
        </p:nvSpPr>
        <p:spPr>
          <a:xfrm>
            <a:off x="11150820" y="81811"/>
            <a:ext cx="860919" cy="381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WIP</a:t>
            </a:r>
            <a:endParaRPr kumimoji="0" lang="en-MY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790363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Project Team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296436767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75963-8D5E-E1AD-F197-2F6B3984C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Project Team: Roles &amp; Responsibilit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CC96FA-81D3-C5D7-A1E5-6B14AC28A5BC}"/>
              </a:ext>
            </a:extLst>
          </p:cNvPr>
          <p:cNvSpPr txBox="1"/>
          <p:nvPr/>
        </p:nvSpPr>
        <p:spPr>
          <a:xfrm>
            <a:off x="4724400" y="3200400"/>
            <a:ext cx="274320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Efficiency &amp; Category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13F42"/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4" name="Group 9">
            <a:extLst>
              <a:ext uri="{FF2B5EF4-FFF2-40B4-BE49-F238E27FC236}">
                <a16:creationId xmlns:a16="http://schemas.microsoft.com/office/drawing/2014/main" id="{12B72359-E2C8-A675-5760-C6652544C175}"/>
              </a:ext>
            </a:extLst>
          </p:cNvPr>
          <p:cNvGraphicFramePr>
            <a:graphicFrameLocks noGrp="1"/>
          </p:cNvGraphicFramePr>
          <p:nvPr/>
        </p:nvGraphicFramePr>
        <p:xfrm>
          <a:off x="5240054" y="4327034"/>
          <a:ext cx="6771685" cy="967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1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67740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DnA</a:t>
                      </a: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Team Member: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guidance on project management framework and deliverables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monitor and review process performance before and after solution go-live including stabilization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recommend the best technology enabler based on consolidated requirement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develop and implement in-house solutions to support the operational team 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PGothic" pitchFamily="34" charset="-128"/>
                        <a:cs typeface="Arial Narrow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" name="Group 15">
            <a:extLst>
              <a:ext uri="{FF2B5EF4-FFF2-40B4-BE49-F238E27FC236}">
                <a16:creationId xmlns:a16="http://schemas.microsoft.com/office/drawing/2014/main" id="{BEB160C6-0F84-E555-2ED4-5EEFBC53ADFD}"/>
              </a:ext>
            </a:extLst>
          </p:cNvPr>
          <p:cNvGraphicFramePr>
            <a:graphicFrameLocks noGrp="1"/>
          </p:cNvGraphicFramePr>
          <p:nvPr/>
        </p:nvGraphicFramePr>
        <p:xfrm>
          <a:off x="5240057" y="5565342"/>
          <a:ext cx="6771685" cy="76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1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14389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eam Member (Dept/Section Name):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assist in getting data for analysis purposes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Involve in brainstorming sessions i.e. Fishbone Analysis, Root Causes Analysis, Etc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execute the improvement initiative as planned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PGothic" pitchFamily="34" charset="-128"/>
                        <a:cs typeface="Arial Narrow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" name="Group 9">
            <a:extLst>
              <a:ext uri="{FF2B5EF4-FFF2-40B4-BE49-F238E27FC236}">
                <a16:creationId xmlns:a16="http://schemas.microsoft.com/office/drawing/2014/main" id="{E01B4061-C3B4-C758-555C-B2122C457A7D}"/>
              </a:ext>
            </a:extLst>
          </p:cNvPr>
          <p:cNvGraphicFramePr>
            <a:graphicFrameLocks noGrp="1"/>
          </p:cNvGraphicFramePr>
          <p:nvPr/>
        </p:nvGraphicFramePr>
        <p:xfrm>
          <a:off x="5240055" y="1291942"/>
          <a:ext cx="6771685" cy="5943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1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8283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roject Sponsor: </a:t>
                      </a: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</a:rPr>
                        <a:t>Senior Leadership</a:t>
                      </a:r>
                      <a:endParaRPr kumimoji="0" lang="en-US" sz="1100" b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Sponsor and support the team’s project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guidance relating to strategic vision, project requirements, expectations, and resolution.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PGothic" pitchFamily="34" charset="-128"/>
                        <a:cs typeface="Arial Narrow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F153FCAE-14A5-FE80-AE04-D95A69A7B7BB}"/>
              </a:ext>
            </a:extLst>
          </p:cNvPr>
          <p:cNvGrpSpPr/>
          <p:nvPr/>
        </p:nvGrpSpPr>
        <p:grpSpPr>
          <a:xfrm>
            <a:off x="616877" y="1215742"/>
            <a:ext cx="4365350" cy="5204684"/>
            <a:chOff x="594986" y="1221572"/>
            <a:chExt cx="4365350" cy="5204684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242673EB-C1C0-11A1-1C69-B0AFC6ABF8BB}"/>
                </a:ext>
              </a:extLst>
            </p:cNvPr>
            <p:cNvSpPr/>
            <p:nvPr/>
          </p:nvSpPr>
          <p:spPr>
            <a:xfrm>
              <a:off x="594986" y="1221572"/>
              <a:ext cx="4365350" cy="5204684"/>
            </a:xfrm>
            <a:prstGeom prst="triangle">
              <a:avLst/>
            </a:pr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MY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835F1A6-5AC7-F10A-9C12-C69029EF8F5D}"/>
                </a:ext>
              </a:extLst>
            </p:cNvPr>
            <p:cNvSpPr/>
            <p:nvPr/>
          </p:nvSpPr>
          <p:spPr>
            <a:xfrm>
              <a:off x="1409855" y="1326348"/>
              <a:ext cx="2837477" cy="616023"/>
            </a:xfrm>
            <a:custGeom>
              <a:avLst/>
              <a:gdLst>
                <a:gd name="connsiteX0" fmla="*/ 0 w 2837477"/>
                <a:gd name="connsiteY0" fmla="*/ 102673 h 616023"/>
                <a:gd name="connsiteX1" fmla="*/ 102673 w 2837477"/>
                <a:gd name="connsiteY1" fmla="*/ 0 h 616023"/>
                <a:gd name="connsiteX2" fmla="*/ 2734804 w 2837477"/>
                <a:gd name="connsiteY2" fmla="*/ 0 h 616023"/>
                <a:gd name="connsiteX3" fmla="*/ 2837477 w 2837477"/>
                <a:gd name="connsiteY3" fmla="*/ 102673 h 616023"/>
                <a:gd name="connsiteX4" fmla="*/ 2837477 w 2837477"/>
                <a:gd name="connsiteY4" fmla="*/ 513350 h 616023"/>
                <a:gd name="connsiteX5" fmla="*/ 2734804 w 2837477"/>
                <a:gd name="connsiteY5" fmla="*/ 616023 h 616023"/>
                <a:gd name="connsiteX6" fmla="*/ 102673 w 2837477"/>
                <a:gd name="connsiteY6" fmla="*/ 616023 h 616023"/>
                <a:gd name="connsiteX7" fmla="*/ 0 w 2837477"/>
                <a:gd name="connsiteY7" fmla="*/ 513350 h 616023"/>
                <a:gd name="connsiteX8" fmla="*/ 0 w 2837477"/>
                <a:gd name="connsiteY8" fmla="*/ 102673 h 61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477" h="616023">
                  <a:moveTo>
                    <a:pt x="0" y="102673"/>
                  </a:moveTo>
                  <a:cubicBezTo>
                    <a:pt x="0" y="45968"/>
                    <a:pt x="45968" y="0"/>
                    <a:pt x="102673" y="0"/>
                  </a:cubicBezTo>
                  <a:lnTo>
                    <a:pt x="2734804" y="0"/>
                  </a:lnTo>
                  <a:cubicBezTo>
                    <a:pt x="2791509" y="0"/>
                    <a:pt x="2837477" y="45968"/>
                    <a:pt x="2837477" y="102673"/>
                  </a:cubicBezTo>
                  <a:lnTo>
                    <a:pt x="2837477" y="513350"/>
                  </a:lnTo>
                  <a:cubicBezTo>
                    <a:pt x="2837477" y="570055"/>
                    <a:pt x="2791509" y="616023"/>
                    <a:pt x="2734804" y="616023"/>
                  </a:cubicBezTo>
                  <a:lnTo>
                    <a:pt x="102673" y="616023"/>
                  </a:lnTo>
                  <a:cubicBezTo>
                    <a:pt x="45968" y="616023"/>
                    <a:pt x="0" y="570055"/>
                    <a:pt x="0" y="513350"/>
                  </a:cubicBezTo>
                  <a:lnTo>
                    <a:pt x="0" y="102673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1"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412" tIns="83412" rIns="83412" bIns="83412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Project Sponsor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Zaid</a:t>
              </a:r>
              <a:endParaRPr kumimoji="0" lang="en-MY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6EE131D-E7D7-6C1A-3D41-D47BF9C5B202}"/>
                </a:ext>
              </a:extLst>
            </p:cNvPr>
            <p:cNvSpPr/>
            <p:nvPr/>
          </p:nvSpPr>
          <p:spPr>
            <a:xfrm>
              <a:off x="1407414" y="2233637"/>
              <a:ext cx="2837477" cy="742807"/>
            </a:xfrm>
            <a:custGeom>
              <a:avLst/>
              <a:gdLst>
                <a:gd name="connsiteX0" fmla="*/ 0 w 2837477"/>
                <a:gd name="connsiteY0" fmla="*/ 102673 h 616023"/>
                <a:gd name="connsiteX1" fmla="*/ 102673 w 2837477"/>
                <a:gd name="connsiteY1" fmla="*/ 0 h 616023"/>
                <a:gd name="connsiteX2" fmla="*/ 2734804 w 2837477"/>
                <a:gd name="connsiteY2" fmla="*/ 0 h 616023"/>
                <a:gd name="connsiteX3" fmla="*/ 2837477 w 2837477"/>
                <a:gd name="connsiteY3" fmla="*/ 102673 h 616023"/>
                <a:gd name="connsiteX4" fmla="*/ 2837477 w 2837477"/>
                <a:gd name="connsiteY4" fmla="*/ 513350 h 616023"/>
                <a:gd name="connsiteX5" fmla="*/ 2734804 w 2837477"/>
                <a:gd name="connsiteY5" fmla="*/ 616023 h 616023"/>
                <a:gd name="connsiteX6" fmla="*/ 102673 w 2837477"/>
                <a:gd name="connsiteY6" fmla="*/ 616023 h 616023"/>
                <a:gd name="connsiteX7" fmla="*/ 0 w 2837477"/>
                <a:gd name="connsiteY7" fmla="*/ 513350 h 616023"/>
                <a:gd name="connsiteX8" fmla="*/ 0 w 2837477"/>
                <a:gd name="connsiteY8" fmla="*/ 102673 h 61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477" h="616023">
                  <a:moveTo>
                    <a:pt x="0" y="102673"/>
                  </a:moveTo>
                  <a:cubicBezTo>
                    <a:pt x="0" y="45968"/>
                    <a:pt x="45968" y="0"/>
                    <a:pt x="102673" y="0"/>
                  </a:cubicBezTo>
                  <a:lnTo>
                    <a:pt x="2734804" y="0"/>
                  </a:lnTo>
                  <a:cubicBezTo>
                    <a:pt x="2791509" y="0"/>
                    <a:pt x="2837477" y="45968"/>
                    <a:pt x="2837477" y="102673"/>
                  </a:cubicBezTo>
                  <a:lnTo>
                    <a:pt x="2837477" y="513350"/>
                  </a:lnTo>
                  <a:cubicBezTo>
                    <a:pt x="2837477" y="570055"/>
                    <a:pt x="2791509" y="616023"/>
                    <a:pt x="2734804" y="616023"/>
                  </a:cubicBezTo>
                  <a:lnTo>
                    <a:pt x="102673" y="616023"/>
                  </a:lnTo>
                  <a:cubicBezTo>
                    <a:pt x="45968" y="616023"/>
                    <a:pt x="0" y="570055"/>
                    <a:pt x="0" y="513350"/>
                  </a:cubicBezTo>
                  <a:lnTo>
                    <a:pt x="0" y="102673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1">
                <a:alpha val="90000"/>
                <a:hueOff val="0"/>
                <a:satOff val="0"/>
                <a:lumOff val="0"/>
                <a:alphaOff val="-800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412" tIns="83412" rIns="83412" bIns="83412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Project Champion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Hazlan (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DnA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)</a:t>
              </a:r>
              <a:endParaRPr kumimoji="0" lang="en-MY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CF463F2-193C-37EE-688B-B3E754142CD9}"/>
                </a:ext>
              </a:extLst>
            </p:cNvPr>
            <p:cNvSpPr/>
            <p:nvPr/>
          </p:nvSpPr>
          <p:spPr>
            <a:xfrm>
              <a:off x="1387268" y="3299602"/>
              <a:ext cx="2837477" cy="742807"/>
            </a:xfrm>
            <a:custGeom>
              <a:avLst/>
              <a:gdLst>
                <a:gd name="connsiteX0" fmla="*/ 0 w 2837477"/>
                <a:gd name="connsiteY0" fmla="*/ 102673 h 616023"/>
                <a:gd name="connsiteX1" fmla="*/ 102673 w 2837477"/>
                <a:gd name="connsiteY1" fmla="*/ 0 h 616023"/>
                <a:gd name="connsiteX2" fmla="*/ 2734804 w 2837477"/>
                <a:gd name="connsiteY2" fmla="*/ 0 h 616023"/>
                <a:gd name="connsiteX3" fmla="*/ 2837477 w 2837477"/>
                <a:gd name="connsiteY3" fmla="*/ 102673 h 616023"/>
                <a:gd name="connsiteX4" fmla="*/ 2837477 w 2837477"/>
                <a:gd name="connsiteY4" fmla="*/ 513350 h 616023"/>
                <a:gd name="connsiteX5" fmla="*/ 2734804 w 2837477"/>
                <a:gd name="connsiteY5" fmla="*/ 616023 h 616023"/>
                <a:gd name="connsiteX6" fmla="*/ 102673 w 2837477"/>
                <a:gd name="connsiteY6" fmla="*/ 616023 h 616023"/>
                <a:gd name="connsiteX7" fmla="*/ 0 w 2837477"/>
                <a:gd name="connsiteY7" fmla="*/ 513350 h 616023"/>
                <a:gd name="connsiteX8" fmla="*/ 0 w 2837477"/>
                <a:gd name="connsiteY8" fmla="*/ 102673 h 61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477" h="616023">
                  <a:moveTo>
                    <a:pt x="0" y="102673"/>
                  </a:moveTo>
                  <a:cubicBezTo>
                    <a:pt x="0" y="45968"/>
                    <a:pt x="45968" y="0"/>
                    <a:pt x="102673" y="0"/>
                  </a:cubicBezTo>
                  <a:lnTo>
                    <a:pt x="2734804" y="0"/>
                  </a:lnTo>
                  <a:cubicBezTo>
                    <a:pt x="2791509" y="0"/>
                    <a:pt x="2837477" y="45968"/>
                    <a:pt x="2837477" y="102673"/>
                  </a:cubicBezTo>
                  <a:lnTo>
                    <a:pt x="2837477" y="513350"/>
                  </a:lnTo>
                  <a:cubicBezTo>
                    <a:pt x="2837477" y="570055"/>
                    <a:pt x="2791509" y="616023"/>
                    <a:pt x="2734804" y="616023"/>
                  </a:cubicBezTo>
                  <a:lnTo>
                    <a:pt x="102673" y="616023"/>
                  </a:lnTo>
                  <a:cubicBezTo>
                    <a:pt x="45968" y="616023"/>
                    <a:pt x="0" y="570055"/>
                    <a:pt x="0" y="513350"/>
                  </a:cubicBezTo>
                  <a:lnTo>
                    <a:pt x="0" y="102673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1">
                <a:alpha val="90000"/>
                <a:hueOff val="0"/>
                <a:satOff val="0"/>
                <a:lumOff val="0"/>
                <a:alphaOff val="-1600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412" tIns="83412" rIns="83412" bIns="83412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Project Lead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Ain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7361F5A-D04D-C8EA-D950-DF499B46087A}"/>
                </a:ext>
              </a:extLst>
            </p:cNvPr>
            <p:cNvSpPr/>
            <p:nvPr/>
          </p:nvSpPr>
          <p:spPr>
            <a:xfrm>
              <a:off x="1426498" y="4410104"/>
              <a:ext cx="2837477" cy="742807"/>
            </a:xfrm>
            <a:custGeom>
              <a:avLst/>
              <a:gdLst>
                <a:gd name="connsiteX0" fmla="*/ 0 w 2837477"/>
                <a:gd name="connsiteY0" fmla="*/ 102673 h 616023"/>
                <a:gd name="connsiteX1" fmla="*/ 102673 w 2837477"/>
                <a:gd name="connsiteY1" fmla="*/ 0 h 616023"/>
                <a:gd name="connsiteX2" fmla="*/ 2734804 w 2837477"/>
                <a:gd name="connsiteY2" fmla="*/ 0 h 616023"/>
                <a:gd name="connsiteX3" fmla="*/ 2837477 w 2837477"/>
                <a:gd name="connsiteY3" fmla="*/ 102673 h 616023"/>
                <a:gd name="connsiteX4" fmla="*/ 2837477 w 2837477"/>
                <a:gd name="connsiteY4" fmla="*/ 513350 h 616023"/>
                <a:gd name="connsiteX5" fmla="*/ 2734804 w 2837477"/>
                <a:gd name="connsiteY5" fmla="*/ 616023 h 616023"/>
                <a:gd name="connsiteX6" fmla="*/ 102673 w 2837477"/>
                <a:gd name="connsiteY6" fmla="*/ 616023 h 616023"/>
                <a:gd name="connsiteX7" fmla="*/ 0 w 2837477"/>
                <a:gd name="connsiteY7" fmla="*/ 513350 h 616023"/>
                <a:gd name="connsiteX8" fmla="*/ 0 w 2837477"/>
                <a:gd name="connsiteY8" fmla="*/ 102673 h 61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477" h="616023">
                  <a:moveTo>
                    <a:pt x="0" y="102673"/>
                  </a:moveTo>
                  <a:cubicBezTo>
                    <a:pt x="0" y="45968"/>
                    <a:pt x="45968" y="0"/>
                    <a:pt x="102673" y="0"/>
                  </a:cubicBezTo>
                  <a:lnTo>
                    <a:pt x="2734804" y="0"/>
                  </a:lnTo>
                  <a:cubicBezTo>
                    <a:pt x="2791509" y="0"/>
                    <a:pt x="2837477" y="45968"/>
                    <a:pt x="2837477" y="102673"/>
                  </a:cubicBezTo>
                  <a:lnTo>
                    <a:pt x="2837477" y="513350"/>
                  </a:lnTo>
                  <a:cubicBezTo>
                    <a:pt x="2837477" y="570055"/>
                    <a:pt x="2791509" y="616023"/>
                    <a:pt x="2734804" y="616023"/>
                  </a:cubicBezTo>
                  <a:lnTo>
                    <a:pt x="102673" y="616023"/>
                  </a:lnTo>
                  <a:cubicBezTo>
                    <a:pt x="45968" y="616023"/>
                    <a:pt x="0" y="570055"/>
                    <a:pt x="0" y="513350"/>
                  </a:cubicBezTo>
                  <a:lnTo>
                    <a:pt x="0" y="102673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1">
                <a:alpha val="90000"/>
                <a:hueOff val="0"/>
                <a:satOff val="0"/>
                <a:lumOff val="0"/>
                <a:alphaOff val="-2400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412" tIns="83412" rIns="83412" bIns="83412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Team Member – 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DnA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Speedee"/>
                </a:rPr>
                <a:t>Azimah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7EB4118-324E-3745-2DAB-91A55906C97D}"/>
                </a:ext>
              </a:extLst>
            </p:cNvPr>
            <p:cNvSpPr/>
            <p:nvPr/>
          </p:nvSpPr>
          <p:spPr>
            <a:xfrm>
              <a:off x="1396518" y="5445884"/>
              <a:ext cx="2837477" cy="944438"/>
            </a:xfrm>
            <a:custGeom>
              <a:avLst/>
              <a:gdLst>
                <a:gd name="connsiteX0" fmla="*/ 0 w 2837477"/>
                <a:gd name="connsiteY0" fmla="*/ 102673 h 616023"/>
                <a:gd name="connsiteX1" fmla="*/ 102673 w 2837477"/>
                <a:gd name="connsiteY1" fmla="*/ 0 h 616023"/>
                <a:gd name="connsiteX2" fmla="*/ 2734804 w 2837477"/>
                <a:gd name="connsiteY2" fmla="*/ 0 h 616023"/>
                <a:gd name="connsiteX3" fmla="*/ 2837477 w 2837477"/>
                <a:gd name="connsiteY3" fmla="*/ 102673 h 616023"/>
                <a:gd name="connsiteX4" fmla="*/ 2837477 w 2837477"/>
                <a:gd name="connsiteY4" fmla="*/ 513350 h 616023"/>
                <a:gd name="connsiteX5" fmla="*/ 2734804 w 2837477"/>
                <a:gd name="connsiteY5" fmla="*/ 616023 h 616023"/>
                <a:gd name="connsiteX6" fmla="*/ 102673 w 2837477"/>
                <a:gd name="connsiteY6" fmla="*/ 616023 h 616023"/>
                <a:gd name="connsiteX7" fmla="*/ 0 w 2837477"/>
                <a:gd name="connsiteY7" fmla="*/ 513350 h 616023"/>
                <a:gd name="connsiteX8" fmla="*/ 0 w 2837477"/>
                <a:gd name="connsiteY8" fmla="*/ 102673 h 61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7477" h="616023">
                  <a:moveTo>
                    <a:pt x="0" y="102673"/>
                  </a:moveTo>
                  <a:cubicBezTo>
                    <a:pt x="0" y="45968"/>
                    <a:pt x="45968" y="0"/>
                    <a:pt x="102673" y="0"/>
                  </a:cubicBezTo>
                  <a:lnTo>
                    <a:pt x="2734804" y="0"/>
                  </a:lnTo>
                  <a:cubicBezTo>
                    <a:pt x="2791509" y="0"/>
                    <a:pt x="2837477" y="45968"/>
                    <a:pt x="2837477" y="102673"/>
                  </a:cubicBezTo>
                  <a:lnTo>
                    <a:pt x="2837477" y="513350"/>
                  </a:lnTo>
                  <a:cubicBezTo>
                    <a:pt x="2837477" y="570055"/>
                    <a:pt x="2791509" y="616023"/>
                    <a:pt x="2734804" y="616023"/>
                  </a:cubicBezTo>
                  <a:lnTo>
                    <a:pt x="102673" y="616023"/>
                  </a:lnTo>
                  <a:cubicBezTo>
                    <a:pt x="45968" y="616023"/>
                    <a:pt x="0" y="570055"/>
                    <a:pt x="0" y="513350"/>
                  </a:cubicBezTo>
                  <a:lnTo>
                    <a:pt x="0" y="102673"/>
                  </a:lnTo>
                  <a:close/>
                </a:path>
              </a:pathLst>
            </a:custGeo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1">
                <a:alpha val="90000"/>
                <a:hueOff val="0"/>
                <a:satOff val="0"/>
                <a:lumOff val="0"/>
                <a:alphaOff val="-3200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3412" tIns="83412" rIns="83412" bIns="83412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Team Member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Speedee"/>
                </a:rPr>
                <a:t>Yusri (OC), Xin Ru (RGM BU DT), Eza (RGM Mutiara Damansara)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 </a:t>
              </a:r>
            </a:p>
          </p:txBody>
        </p:sp>
      </p:grpSp>
      <p:graphicFrame>
        <p:nvGraphicFramePr>
          <p:cNvPr id="16" name="Group 9">
            <a:extLst>
              <a:ext uri="{FF2B5EF4-FFF2-40B4-BE49-F238E27FC236}">
                <a16:creationId xmlns:a16="http://schemas.microsoft.com/office/drawing/2014/main" id="{E7EC5FE3-2B8C-5B22-53BB-3BE8D3FC0327}"/>
              </a:ext>
            </a:extLst>
          </p:cNvPr>
          <p:cNvGraphicFramePr>
            <a:graphicFrameLocks noGrp="1"/>
          </p:cNvGraphicFramePr>
          <p:nvPr/>
        </p:nvGraphicFramePr>
        <p:xfrm>
          <a:off x="5240054" y="2209249"/>
          <a:ext cx="6771685" cy="635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1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35032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roject Champion: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team members with inspirational, motivational support, and resources needed, as well as serve as an advocate for the project to ensure stakeholders are satisfied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PGothic" pitchFamily="34" charset="-128"/>
                        <a:cs typeface="Arial Narrow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" name="Group 9">
            <a:extLst>
              <a:ext uri="{FF2B5EF4-FFF2-40B4-BE49-F238E27FC236}">
                <a16:creationId xmlns:a16="http://schemas.microsoft.com/office/drawing/2014/main" id="{88F89BF1-9F5C-C4B7-A5B6-CAB968D0236F}"/>
              </a:ext>
            </a:extLst>
          </p:cNvPr>
          <p:cNvGraphicFramePr>
            <a:graphicFrameLocks noGrp="1"/>
          </p:cNvGraphicFramePr>
          <p:nvPr/>
        </p:nvGraphicFramePr>
        <p:xfrm>
          <a:off x="5240054" y="2956047"/>
          <a:ext cx="6771685" cy="12649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1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30997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roject Leader: </a:t>
                      </a: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coordinate with all team members on the project requirement and deliverables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guidance to the team members on matters relating to project assignment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the team members appropriate vision and goals of the project objectives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ensure all team members address relevant issues within a specified time frame to meet respective objective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provide necessary data related to project benefit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 validate and endorse the data on financial benefits   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PGothic" pitchFamily="34" charset="-128"/>
                        <a:cs typeface="Arial Narrow" pitchFamily="34" charset="0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474429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Project Timeline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139358397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8">
            <a:extLst>
              <a:ext uri="{FF2B5EF4-FFF2-40B4-BE49-F238E27FC236}">
                <a16:creationId xmlns:a16="http://schemas.microsoft.com/office/drawing/2014/main" id="{27DD9E31-CE0A-E1A0-B1B8-2417DAFEFD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6806118"/>
              </p:ext>
            </p:extLst>
          </p:nvPr>
        </p:nvGraphicFramePr>
        <p:xfrm>
          <a:off x="660399" y="945083"/>
          <a:ext cx="11196644" cy="5092218"/>
        </p:xfrm>
        <a:graphic>
          <a:graphicData uri="http://schemas.openxmlformats.org/drawingml/2006/table">
            <a:tbl>
              <a:tblPr firstRow="1" bandRow="1"/>
              <a:tblGrid>
                <a:gridCol w="1242781">
                  <a:extLst>
                    <a:ext uri="{9D8B030D-6E8A-4147-A177-3AD203B41FA5}">
                      <a16:colId xmlns:a16="http://schemas.microsoft.com/office/drawing/2014/main" val="802818335"/>
                    </a:ext>
                  </a:extLst>
                </a:gridCol>
                <a:gridCol w="1254396">
                  <a:extLst>
                    <a:ext uri="{9D8B030D-6E8A-4147-A177-3AD203B41FA5}">
                      <a16:colId xmlns:a16="http://schemas.microsoft.com/office/drawing/2014/main" val="3964497427"/>
                    </a:ext>
                  </a:extLst>
                </a:gridCol>
                <a:gridCol w="1242781">
                  <a:extLst>
                    <a:ext uri="{9D8B030D-6E8A-4147-A177-3AD203B41FA5}">
                      <a16:colId xmlns:a16="http://schemas.microsoft.com/office/drawing/2014/main" val="1265695509"/>
                    </a:ext>
                  </a:extLst>
                </a:gridCol>
                <a:gridCol w="1242781">
                  <a:extLst>
                    <a:ext uri="{9D8B030D-6E8A-4147-A177-3AD203B41FA5}">
                      <a16:colId xmlns:a16="http://schemas.microsoft.com/office/drawing/2014/main" val="4021480930"/>
                    </a:ext>
                  </a:extLst>
                </a:gridCol>
                <a:gridCol w="1242781">
                  <a:extLst>
                    <a:ext uri="{9D8B030D-6E8A-4147-A177-3AD203B41FA5}">
                      <a16:colId xmlns:a16="http://schemas.microsoft.com/office/drawing/2014/main" val="4037608527"/>
                    </a:ext>
                  </a:extLst>
                </a:gridCol>
                <a:gridCol w="1242781">
                  <a:extLst>
                    <a:ext uri="{9D8B030D-6E8A-4147-A177-3AD203B41FA5}">
                      <a16:colId xmlns:a16="http://schemas.microsoft.com/office/drawing/2014/main" val="981004585"/>
                    </a:ext>
                  </a:extLst>
                </a:gridCol>
                <a:gridCol w="1242781">
                  <a:extLst>
                    <a:ext uri="{9D8B030D-6E8A-4147-A177-3AD203B41FA5}">
                      <a16:colId xmlns:a16="http://schemas.microsoft.com/office/drawing/2014/main" val="119385373"/>
                    </a:ext>
                  </a:extLst>
                </a:gridCol>
                <a:gridCol w="1242781">
                  <a:extLst>
                    <a:ext uri="{9D8B030D-6E8A-4147-A177-3AD203B41FA5}">
                      <a16:colId xmlns:a16="http://schemas.microsoft.com/office/drawing/2014/main" val="1824401334"/>
                    </a:ext>
                  </a:extLst>
                </a:gridCol>
                <a:gridCol w="1242781">
                  <a:extLst>
                    <a:ext uri="{9D8B030D-6E8A-4147-A177-3AD203B41FA5}">
                      <a16:colId xmlns:a16="http://schemas.microsoft.com/office/drawing/2014/main" val="781959384"/>
                    </a:ext>
                  </a:extLst>
                </a:gridCol>
              </a:tblGrid>
              <a:tr h="284534">
                <a:tc gridSpan="8"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024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025</a:t>
                      </a:r>
                    </a:p>
                  </a:txBody>
                  <a:tcPr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9684092"/>
                  </a:ext>
                </a:extLst>
              </a:tr>
              <a:tr h="2917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MAY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JUN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JUL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AUG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400" b="1" spc="300" dirty="0">
                          <a:solidFill>
                            <a:schemeClr val="bg1"/>
                          </a:solidFill>
                          <a:latin typeface="+mj-lt"/>
                        </a:rPr>
                        <a:t>SEP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457178" rtl="0" eaLnBrk="1" latinLnBrk="0" hangingPunct="1"/>
                      <a:r>
                        <a:rPr lang="en-US" sz="1400" b="1" kern="1200" spc="3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OCT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78" rtl="0" eaLnBrk="1" latinLnBrk="0" hangingPunct="1"/>
                      <a:r>
                        <a:rPr lang="en-US" sz="1400" b="1" kern="1200" spc="3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Nov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78" rtl="0" eaLnBrk="1" latinLnBrk="0" hangingPunct="1"/>
                      <a:r>
                        <a:rPr lang="en-US" sz="1400" b="1" kern="1200" spc="3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Dec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78" rtl="0" eaLnBrk="1" latinLnBrk="0" hangingPunct="1"/>
                      <a:r>
                        <a:rPr lang="en-US" sz="1400" b="1" kern="1200" spc="3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Jan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594516"/>
                  </a:ext>
                </a:extLst>
              </a:tr>
              <a:tr h="4421658">
                <a:tc>
                  <a:txBody>
                    <a:bodyPr/>
                    <a:lstStyle/>
                    <a:p>
                      <a:pPr algn="ctr"/>
                      <a:endParaRPr lang="en-US" sz="1400" b="1" spc="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spc="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b="1" spc="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spc="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spc="30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178" rtl="0" eaLnBrk="1" latinLnBrk="0" hangingPunct="1"/>
                      <a:endParaRPr lang="en-US" sz="1400" b="1" kern="1200" spc="3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178" rtl="0" eaLnBrk="1" latinLnBrk="0" hangingPunct="1"/>
                      <a:endParaRPr lang="en-US" sz="1400" b="1" kern="1200" spc="3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178" rtl="0" eaLnBrk="1" latinLnBrk="0" hangingPunct="1"/>
                      <a:endParaRPr lang="en-US" sz="1400" b="1" kern="1200" spc="3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178" rtl="0" eaLnBrk="1" latinLnBrk="0" hangingPunct="1"/>
                      <a:endParaRPr lang="en-US" sz="1400" b="1" kern="1200" spc="3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A79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612809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B32D67-41DF-6F08-B909-2F0935917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Proposed Project Timeline</a:t>
            </a:r>
          </a:p>
        </p:txBody>
      </p:sp>
      <p:sp>
        <p:nvSpPr>
          <p:cNvPr id="5" name="Arrow: Pentagon 67">
            <a:extLst>
              <a:ext uri="{FF2B5EF4-FFF2-40B4-BE49-F238E27FC236}">
                <a16:creationId xmlns:a16="http://schemas.microsoft.com/office/drawing/2014/main" id="{87B46EC3-3585-4FD2-2D9B-7E1D3CD0DEBE}"/>
              </a:ext>
            </a:extLst>
          </p:cNvPr>
          <p:cNvSpPr/>
          <p:nvPr/>
        </p:nvSpPr>
        <p:spPr>
          <a:xfrm>
            <a:off x="1019175" y="1746917"/>
            <a:ext cx="1514475" cy="396000"/>
          </a:xfrm>
          <a:prstGeom prst="homePlate">
            <a:avLst>
              <a:gd name="adj" fmla="val 41319"/>
            </a:avLst>
          </a:prstGeom>
          <a:gradFill flip="none" rotWithShape="1">
            <a:gsLst>
              <a:gs pos="0">
                <a:srgbClr val="FF944D"/>
              </a:gs>
              <a:gs pos="48000">
                <a:srgbClr val="FFB953"/>
              </a:gs>
              <a:gs pos="100000">
                <a:srgbClr val="FFDD59"/>
              </a:gs>
            </a:gsLst>
            <a:lin ang="135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Define Phase</a:t>
            </a:r>
          </a:p>
        </p:txBody>
      </p:sp>
      <p:sp>
        <p:nvSpPr>
          <p:cNvPr id="6" name="Arrow: Pentagon 67">
            <a:extLst>
              <a:ext uri="{FF2B5EF4-FFF2-40B4-BE49-F238E27FC236}">
                <a16:creationId xmlns:a16="http://schemas.microsoft.com/office/drawing/2014/main" id="{EA90EC98-29BC-4E12-60A9-A4D65322E328}"/>
              </a:ext>
            </a:extLst>
          </p:cNvPr>
          <p:cNvSpPr/>
          <p:nvPr/>
        </p:nvSpPr>
        <p:spPr>
          <a:xfrm>
            <a:off x="2333626" y="2450981"/>
            <a:ext cx="2705100" cy="396000"/>
          </a:xfrm>
          <a:prstGeom prst="homePlate">
            <a:avLst>
              <a:gd name="adj" fmla="val 41319"/>
            </a:avLst>
          </a:prstGeom>
          <a:gradFill flip="none" rotWithShape="1">
            <a:gsLst>
              <a:gs pos="0">
                <a:srgbClr val="FF944D"/>
              </a:gs>
              <a:gs pos="48000">
                <a:srgbClr val="FFC52E"/>
              </a:gs>
              <a:gs pos="100000">
                <a:srgbClr val="FFDD59"/>
              </a:gs>
            </a:gsLst>
            <a:lin ang="135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Planning &amp; Design</a:t>
            </a:r>
          </a:p>
        </p:txBody>
      </p:sp>
      <p:sp>
        <p:nvSpPr>
          <p:cNvPr id="7" name="Arrow: Pentagon 67">
            <a:extLst>
              <a:ext uri="{FF2B5EF4-FFF2-40B4-BE49-F238E27FC236}">
                <a16:creationId xmlns:a16="http://schemas.microsoft.com/office/drawing/2014/main" id="{DFA953DC-8C39-1107-FC02-2004A1B2DDF2}"/>
              </a:ext>
            </a:extLst>
          </p:cNvPr>
          <p:cNvSpPr/>
          <p:nvPr/>
        </p:nvSpPr>
        <p:spPr>
          <a:xfrm>
            <a:off x="3895725" y="3664176"/>
            <a:ext cx="3038469" cy="396000"/>
          </a:xfrm>
          <a:prstGeom prst="homePlate">
            <a:avLst>
              <a:gd name="adj" fmla="val 41319"/>
            </a:avLst>
          </a:prstGeom>
          <a:gradFill flip="none" rotWithShape="1">
            <a:gsLst>
              <a:gs pos="0">
                <a:srgbClr val="FF944D"/>
              </a:gs>
              <a:gs pos="48000">
                <a:srgbClr val="FFC52E"/>
              </a:gs>
              <a:gs pos="100000">
                <a:srgbClr val="FFDD59"/>
              </a:gs>
            </a:gsLst>
            <a:lin ang="13500000" scaled="1"/>
            <a:tileRect/>
          </a:gradFill>
          <a:ln>
            <a:noFill/>
          </a:ln>
          <a:effectLst>
            <a:glow rad="12700">
              <a:schemeClr val="accent1">
                <a:alpha val="40000"/>
              </a:schemeClr>
            </a:glow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18288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Build &amp; Development</a:t>
            </a:r>
          </a:p>
        </p:txBody>
      </p:sp>
      <p:sp>
        <p:nvSpPr>
          <p:cNvPr id="8" name="Arrow: Pentagon 67">
            <a:extLst>
              <a:ext uri="{FF2B5EF4-FFF2-40B4-BE49-F238E27FC236}">
                <a16:creationId xmlns:a16="http://schemas.microsoft.com/office/drawing/2014/main" id="{E0F6C52B-AAFD-7FE2-F7AD-46A26511B4D1}"/>
              </a:ext>
            </a:extLst>
          </p:cNvPr>
          <p:cNvSpPr/>
          <p:nvPr/>
        </p:nvSpPr>
        <p:spPr>
          <a:xfrm>
            <a:off x="6934195" y="4608645"/>
            <a:ext cx="1194867" cy="396000"/>
          </a:xfrm>
          <a:prstGeom prst="homePlate">
            <a:avLst>
              <a:gd name="adj" fmla="val 41319"/>
            </a:avLst>
          </a:prstGeom>
          <a:gradFill flip="none" rotWithShape="1">
            <a:gsLst>
              <a:gs pos="0">
                <a:srgbClr val="FF944D"/>
              </a:gs>
              <a:gs pos="48000">
                <a:srgbClr val="FFC52E"/>
              </a:gs>
              <a:gs pos="100000">
                <a:srgbClr val="FFDD59"/>
              </a:gs>
            </a:gsLst>
            <a:lin ang="135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18288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UAT</a:t>
            </a:r>
          </a:p>
        </p:txBody>
      </p:sp>
      <p:sp>
        <p:nvSpPr>
          <p:cNvPr id="9" name="Arrow: Pentagon 67">
            <a:extLst>
              <a:ext uri="{FF2B5EF4-FFF2-40B4-BE49-F238E27FC236}">
                <a16:creationId xmlns:a16="http://schemas.microsoft.com/office/drawing/2014/main" id="{96DF76F6-A1C3-4CA7-0B73-E9ECF5B0F81B}"/>
              </a:ext>
            </a:extLst>
          </p:cNvPr>
          <p:cNvSpPr/>
          <p:nvPr/>
        </p:nvSpPr>
        <p:spPr>
          <a:xfrm>
            <a:off x="8143875" y="5426878"/>
            <a:ext cx="3689341" cy="396000"/>
          </a:xfrm>
          <a:prstGeom prst="homePlate">
            <a:avLst>
              <a:gd name="adj" fmla="val 41319"/>
            </a:avLst>
          </a:prstGeom>
          <a:gradFill flip="none" rotWithShape="1">
            <a:gsLst>
              <a:gs pos="0">
                <a:srgbClr val="FF944D"/>
              </a:gs>
              <a:gs pos="48000">
                <a:srgbClr val="FFC52E"/>
              </a:gs>
              <a:gs pos="100000">
                <a:srgbClr val="FFDD59"/>
              </a:gs>
            </a:gsLst>
            <a:lin ang="135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18288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Stabiliz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0BA3ABA-549B-2793-71DF-96168D2C55A3}"/>
              </a:ext>
            </a:extLst>
          </p:cNvPr>
          <p:cNvGrpSpPr/>
          <p:nvPr/>
        </p:nvGrpSpPr>
        <p:grpSpPr>
          <a:xfrm>
            <a:off x="8003494" y="945083"/>
            <a:ext cx="968374" cy="5111387"/>
            <a:chOff x="8120063" y="949101"/>
            <a:chExt cx="968374" cy="528490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64A66E0-051D-78C7-1BA7-980E21B104A1}"/>
                </a:ext>
              </a:extLst>
            </p:cNvPr>
            <p:cNvGrpSpPr/>
            <p:nvPr/>
          </p:nvGrpSpPr>
          <p:grpSpPr>
            <a:xfrm>
              <a:off x="8120063" y="949101"/>
              <a:ext cx="968374" cy="255255"/>
              <a:chOff x="6203957" y="1223314"/>
              <a:chExt cx="968374" cy="255255"/>
            </a:xfrm>
          </p:grpSpPr>
          <p:sp>
            <p:nvSpPr>
              <p:cNvPr id="13" name="Star: 5 Points 12">
                <a:extLst>
                  <a:ext uri="{FF2B5EF4-FFF2-40B4-BE49-F238E27FC236}">
                    <a16:creationId xmlns:a16="http://schemas.microsoft.com/office/drawing/2014/main" id="{2F0ED3B3-81F9-29AF-1FDB-3E04E0033694}"/>
                  </a:ext>
                </a:extLst>
              </p:cNvPr>
              <p:cNvSpPr/>
              <p:nvPr/>
            </p:nvSpPr>
            <p:spPr>
              <a:xfrm>
                <a:off x="6203957" y="1223314"/>
                <a:ext cx="255255" cy="255255"/>
              </a:xfrm>
              <a:prstGeom prst="star5">
                <a:avLst/>
              </a:prstGeom>
              <a:solidFill>
                <a:srgbClr val="FFC000"/>
              </a:solidFill>
              <a:ln w="9525" cap="flat" cmpd="sng" algn="ctr">
                <a:solidFill>
                  <a:schemeClr val="accent6"/>
                </a:solidFill>
                <a:prstDash val="solid"/>
                <a:miter lim="800000"/>
              </a:ln>
              <a:effectLst/>
            </p:spPr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873475F8-AF47-0DD1-94CE-55D836414922}"/>
                  </a:ext>
                </a:extLst>
              </p:cNvPr>
              <p:cNvSpPr/>
              <p:nvPr/>
            </p:nvSpPr>
            <p:spPr>
              <a:xfrm>
                <a:off x="6385592" y="1272427"/>
                <a:ext cx="786739" cy="157502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r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MY" sz="13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peedee"/>
                    <a:ea typeface="+mn-ea"/>
                    <a:cs typeface="+mn-cs"/>
                  </a:rPr>
                  <a:t>GO-LIVE</a:t>
                </a:r>
              </a:p>
            </p:txBody>
          </p:sp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EA8A01E-BCE5-5072-2483-7D86F289F039}"/>
                </a:ext>
              </a:extLst>
            </p:cNvPr>
            <p:cNvCxnSpPr>
              <a:cxnSpLocks/>
            </p:cNvCxnSpPr>
            <p:nvPr/>
          </p:nvCxnSpPr>
          <p:spPr>
            <a:xfrm>
              <a:off x="8245632" y="1195470"/>
              <a:ext cx="0" cy="5038537"/>
            </a:xfrm>
            <a:prstGeom prst="line">
              <a:avLst/>
            </a:prstGeom>
            <a:ln w="28575">
              <a:solidFill>
                <a:srgbClr val="FF0000"/>
              </a:solidFill>
              <a:prstDash val="sysDash"/>
            </a:ln>
            <a:effectLst/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2B82446-BC9D-A0D7-6F22-2D15B200175B}"/>
              </a:ext>
            </a:extLst>
          </p:cNvPr>
          <p:cNvGrpSpPr/>
          <p:nvPr/>
        </p:nvGrpSpPr>
        <p:grpSpPr>
          <a:xfrm>
            <a:off x="2619376" y="922090"/>
            <a:ext cx="501215" cy="5054251"/>
            <a:chOff x="2566211" y="818138"/>
            <a:chExt cx="501215" cy="578978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1267987-321B-3530-6724-31002E0009DF}"/>
                </a:ext>
              </a:extLst>
            </p:cNvPr>
            <p:cNvCxnSpPr>
              <a:cxnSpLocks/>
            </p:cNvCxnSpPr>
            <p:nvPr/>
          </p:nvCxnSpPr>
          <p:spPr>
            <a:xfrm>
              <a:off x="2816151" y="1042336"/>
              <a:ext cx="0" cy="5565586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pic>
          <p:nvPicPr>
            <p:cNvPr id="16" name="Graphic 15" descr="Marker with solid fill">
              <a:extLst>
                <a:ext uri="{FF2B5EF4-FFF2-40B4-BE49-F238E27FC236}">
                  <a16:creationId xmlns:a16="http://schemas.microsoft.com/office/drawing/2014/main" id="{DDEEAD06-9E49-0A8E-DD8B-090EC9115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66211" y="818138"/>
              <a:ext cx="501215" cy="448396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7F2CF39-D8CB-C861-7FD7-2E10D7697364}"/>
              </a:ext>
            </a:extLst>
          </p:cNvPr>
          <p:cNvGrpSpPr/>
          <p:nvPr/>
        </p:nvGrpSpPr>
        <p:grpSpPr>
          <a:xfrm>
            <a:off x="12485181" y="19317"/>
            <a:ext cx="1900237" cy="757347"/>
            <a:chOff x="10835482" y="31086"/>
            <a:chExt cx="1900237" cy="757347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BC56556-2759-E757-B100-42C6D1B114A5}"/>
                </a:ext>
              </a:extLst>
            </p:cNvPr>
            <p:cNvGrpSpPr/>
            <p:nvPr/>
          </p:nvGrpSpPr>
          <p:grpSpPr>
            <a:xfrm>
              <a:off x="10935859" y="271860"/>
              <a:ext cx="1245981" cy="341264"/>
              <a:chOff x="10935859" y="271860"/>
              <a:chExt cx="1245981" cy="297004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EE6E30E8-C4E5-F00A-DAF1-5BCFDFFD8792}"/>
                  </a:ext>
                </a:extLst>
              </p:cNvPr>
              <p:cNvSpPr txBox="1"/>
              <p:nvPr/>
            </p:nvSpPr>
            <p:spPr>
              <a:xfrm>
                <a:off x="11052129" y="271860"/>
                <a:ext cx="1129711" cy="297004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tIns="91440" bIns="9144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MY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peedee"/>
                    <a:ea typeface="+mn-ea"/>
                    <a:cs typeface="+mn-cs"/>
                  </a:rPr>
                  <a:t>Communication</a:t>
                </a:r>
              </a:p>
            </p:txBody>
          </p:sp>
          <p:sp>
            <p:nvSpPr>
              <p:cNvPr id="18" name="Diamond 17">
                <a:extLst>
                  <a:ext uri="{FF2B5EF4-FFF2-40B4-BE49-F238E27FC236}">
                    <a16:creationId xmlns:a16="http://schemas.microsoft.com/office/drawing/2014/main" id="{943EABD9-E689-C4EC-5393-D6E1FEB3655F}"/>
                  </a:ext>
                </a:extLst>
              </p:cNvPr>
              <p:cNvSpPr/>
              <p:nvPr/>
            </p:nvSpPr>
            <p:spPr>
              <a:xfrm>
                <a:off x="10935859" y="332820"/>
                <a:ext cx="144000" cy="144000"/>
              </a:xfrm>
              <a:prstGeom prst="diamond">
                <a:avLst/>
              </a:prstGeom>
              <a:solidFill>
                <a:srgbClr val="007CC4">
                  <a:lumMod val="60000"/>
                  <a:lumOff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3C3835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9DFD876-8B70-2FFE-1479-B31908A46089}"/>
                </a:ext>
              </a:extLst>
            </p:cNvPr>
            <p:cNvGrpSpPr/>
            <p:nvPr/>
          </p:nvGrpSpPr>
          <p:grpSpPr>
            <a:xfrm>
              <a:off x="10930278" y="491429"/>
              <a:ext cx="1271882" cy="297004"/>
              <a:chOff x="10930278" y="491429"/>
              <a:chExt cx="1271882" cy="297004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C16D75F4-106D-F670-27F6-A28CC9F3DC65}"/>
                  </a:ext>
                </a:extLst>
              </p:cNvPr>
              <p:cNvSpPr txBox="1"/>
              <p:nvPr/>
            </p:nvSpPr>
            <p:spPr>
              <a:xfrm>
                <a:off x="11072449" y="491429"/>
                <a:ext cx="1129711" cy="297004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wrap="square" tIns="91440" bIns="9144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MY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peedee"/>
                    <a:ea typeface="+mn-ea"/>
                    <a:cs typeface="+mn-cs"/>
                  </a:rPr>
                  <a:t>Event</a:t>
                </a:r>
              </a:p>
            </p:txBody>
          </p:sp>
          <p:sp>
            <p:nvSpPr>
              <p:cNvPr id="19" name="Isosceles Triangle 18">
                <a:extLst>
                  <a:ext uri="{FF2B5EF4-FFF2-40B4-BE49-F238E27FC236}">
                    <a16:creationId xmlns:a16="http://schemas.microsoft.com/office/drawing/2014/main" id="{18346B05-8513-57D7-CB65-1FE8503C7845}"/>
                  </a:ext>
                </a:extLst>
              </p:cNvPr>
              <p:cNvSpPr/>
              <p:nvPr/>
            </p:nvSpPr>
            <p:spPr>
              <a:xfrm>
                <a:off x="10930278" y="565897"/>
                <a:ext cx="144000" cy="108000"/>
              </a:xfrm>
              <a:prstGeom prst="triangle">
                <a:avLst/>
              </a:prstGeom>
              <a:solidFill>
                <a:srgbClr val="9900CC"/>
              </a:solidFill>
              <a:ln>
                <a:solidFill>
                  <a:srgbClr val="99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3C3835"/>
                  </a:solidFill>
                  <a:effectLst/>
                  <a:uLnTx/>
                  <a:uFillTx/>
                  <a:latin typeface="Museo Sans 300"/>
                  <a:ea typeface="+mn-ea"/>
                  <a:cs typeface="+mn-cs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3F7263E-B3B9-E7C6-A04A-00EA82C27227}"/>
                </a:ext>
              </a:extLst>
            </p:cNvPr>
            <p:cNvSpPr txBox="1"/>
            <p:nvPr/>
          </p:nvSpPr>
          <p:spPr>
            <a:xfrm>
              <a:off x="10835482" y="31086"/>
              <a:ext cx="1900237" cy="311047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square" tIns="91440" bIns="9144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MY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peedee"/>
                  <a:ea typeface="+mn-ea"/>
                  <a:cs typeface="+mn-cs"/>
                </a:rPr>
                <a:t>Legend: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63CEF93E-BC3E-3015-3985-E081AD6F02F0}"/>
              </a:ext>
            </a:extLst>
          </p:cNvPr>
          <p:cNvSpPr/>
          <p:nvPr/>
        </p:nvSpPr>
        <p:spPr>
          <a:xfrm>
            <a:off x="11183643" y="139635"/>
            <a:ext cx="860919" cy="381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WIP</a:t>
            </a:r>
            <a:endParaRPr kumimoji="0" lang="en-MY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73A492C-616A-20A2-8385-803F553DDF59}"/>
              </a:ext>
            </a:extLst>
          </p:cNvPr>
          <p:cNvSpPr txBox="1"/>
          <p:nvPr/>
        </p:nvSpPr>
        <p:spPr>
          <a:xfrm>
            <a:off x="4006929" y="4051538"/>
            <a:ext cx="2764196" cy="669414"/>
          </a:xfrm>
          <a:prstGeom prst="rect">
            <a:avLst/>
          </a:prstGeom>
          <a:noFill/>
          <a:ln w="25400">
            <a:noFill/>
          </a:ln>
        </p:spPr>
        <p:txBody>
          <a:bodyPr wrap="square" tIns="91440" bIns="91440" rtlCol="0">
            <a:spAutoFit/>
          </a:bodyPr>
          <a:lstStyle/>
          <a:p>
            <a:pPr marL="180975" indent="-180975" algn="l">
              <a:buFont typeface="+mj-lt"/>
              <a:buAutoNum type="arabicPeriod"/>
            </a:pPr>
            <a:r>
              <a:rPr lang="en-US" sz="1050" dirty="0"/>
              <a:t>Data Identification &amp; Understanding</a:t>
            </a:r>
          </a:p>
          <a:p>
            <a:pPr marL="180975" indent="-180975" algn="l">
              <a:buFont typeface="+mj-lt"/>
              <a:buAutoNum type="arabicPeriod"/>
            </a:pPr>
            <a:r>
              <a:rPr lang="en-US" sz="1050" dirty="0"/>
              <a:t>Data Preparation &amp; EDA</a:t>
            </a:r>
          </a:p>
          <a:p>
            <a:pPr marL="180975" indent="-180975" algn="l">
              <a:buFont typeface="+mj-lt"/>
              <a:buAutoNum type="arabicPeriod"/>
            </a:pPr>
            <a:r>
              <a:rPr lang="en-US" sz="1050" dirty="0"/>
              <a:t>Data Modelling &amp; Evalua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222B6A0-C67F-8242-D429-BB401AE71352}"/>
              </a:ext>
            </a:extLst>
          </p:cNvPr>
          <p:cNvSpPr txBox="1"/>
          <p:nvPr/>
        </p:nvSpPr>
        <p:spPr>
          <a:xfrm>
            <a:off x="3039894" y="2821778"/>
            <a:ext cx="1361190" cy="669414"/>
          </a:xfrm>
          <a:prstGeom prst="rect">
            <a:avLst/>
          </a:prstGeom>
          <a:noFill/>
          <a:ln w="25400">
            <a:noFill/>
          </a:ln>
        </p:spPr>
        <p:txBody>
          <a:bodyPr wrap="square" tIns="91440" bIns="91440" rtlCol="0">
            <a:spAutoFit/>
          </a:bodyPr>
          <a:lstStyle/>
          <a:p>
            <a:pPr marL="180975" indent="-180975" algn="l">
              <a:buFont typeface="+mj-lt"/>
              <a:buAutoNum type="arabicPeriod"/>
            </a:pPr>
            <a:r>
              <a:rPr lang="en-US" sz="1050" dirty="0"/>
              <a:t>Project Charter</a:t>
            </a:r>
          </a:p>
          <a:p>
            <a:pPr marL="180975" indent="-180975" algn="l">
              <a:buFont typeface="+mj-lt"/>
              <a:buAutoNum type="arabicPeriod"/>
            </a:pPr>
            <a:r>
              <a:rPr lang="en-US" sz="1050" dirty="0"/>
              <a:t>As-Is &amp; To-Be</a:t>
            </a:r>
          </a:p>
          <a:p>
            <a:pPr marL="180975" indent="-180975" algn="l">
              <a:buFont typeface="+mj-lt"/>
              <a:buAutoNum type="arabicPeriod"/>
            </a:pPr>
            <a:r>
              <a:rPr lang="en-US" sz="1050" dirty="0"/>
              <a:t>U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8A8795-A219-8ECF-2716-3799668FF8FE}"/>
              </a:ext>
            </a:extLst>
          </p:cNvPr>
          <p:cNvSpPr txBox="1"/>
          <p:nvPr/>
        </p:nvSpPr>
        <p:spPr>
          <a:xfrm>
            <a:off x="93008" y="3430929"/>
            <a:ext cx="2888727" cy="1557927"/>
          </a:xfrm>
          <a:prstGeom prst="rect">
            <a:avLst/>
          </a:prstGeom>
          <a:solidFill>
            <a:srgbClr val="00B050"/>
          </a:solidFill>
          <a:ln w="25400">
            <a:noFill/>
          </a:ln>
        </p:spPr>
        <p:txBody>
          <a:bodyPr wrap="square" tIns="91440" bIns="9144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en-MY" sz="1100" b="1" dirty="0">
                <a:solidFill>
                  <a:schemeClr val="bg1"/>
                </a:solidFill>
              </a:rPr>
              <a:t>Plan to schedule a meeting with dept below:</a:t>
            </a:r>
          </a:p>
          <a:p>
            <a:pPr marL="342900" indent="-342900" algn="l">
              <a:lnSpc>
                <a:spcPct val="90000"/>
              </a:lnSpc>
              <a:buAutoNum type="arabicPeriod"/>
            </a:pPr>
            <a:r>
              <a:rPr lang="en-MY" sz="1100" b="1" dirty="0">
                <a:solidFill>
                  <a:schemeClr val="bg1"/>
                </a:solidFill>
              </a:rPr>
              <a:t>EPS (Olive – Rahul)</a:t>
            </a:r>
          </a:p>
          <a:p>
            <a:pPr marL="342900" indent="-342900" algn="l">
              <a:lnSpc>
                <a:spcPct val="90000"/>
              </a:lnSpc>
              <a:buAutoNum type="arabicPeriod"/>
            </a:pPr>
            <a:r>
              <a:rPr lang="en-MY" sz="1100" b="1" dirty="0">
                <a:solidFill>
                  <a:schemeClr val="bg1"/>
                </a:solidFill>
              </a:rPr>
              <a:t>HR (Raja &amp; CY) </a:t>
            </a:r>
          </a:p>
          <a:p>
            <a:pPr marL="342900" indent="-342900" algn="l">
              <a:lnSpc>
                <a:spcPct val="90000"/>
              </a:lnSpc>
              <a:buAutoNum type="arabicPeriod"/>
            </a:pPr>
            <a:r>
              <a:rPr lang="en-MY" sz="1100" b="1" dirty="0">
                <a:solidFill>
                  <a:schemeClr val="bg1"/>
                </a:solidFill>
              </a:rPr>
              <a:t>Jeffrey</a:t>
            </a:r>
          </a:p>
          <a:p>
            <a:pPr marL="342900" indent="-342900" algn="l">
              <a:lnSpc>
                <a:spcPct val="90000"/>
              </a:lnSpc>
              <a:buAutoNum type="arabicPeriod"/>
            </a:pPr>
            <a:r>
              <a:rPr lang="en-MY" sz="1100" b="1" dirty="0">
                <a:solidFill>
                  <a:schemeClr val="bg1"/>
                </a:solidFill>
              </a:rPr>
              <a:t>E-scheduler – </a:t>
            </a:r>
            <a:r>
              <a:rPr lang="en-MY" sz="1100" b="1" dirty="0" err="1">
                <a:solidFill>
                  <a:schemeClr val="bg1"/>
                </a:solidFill>
              </a:rPr>
              <a:t>Maisarah</a:t>
            </a:r>
            <a:r>
              <a:rPr lang="en-MY" sz="1100" b="1" dirty="0">
                <a:solidFill>
                  <a:schemeClr val="bg1"/>
                </a:solidFill>
              </a:rPr>
              <a:t> &amp;CY (IT)</a:t>
            </a:r>
          </a:p>
          <a:p>
            <a:pPr marL="342900" indent="-342900" algn="l">
              <a:lnSpc>
                <a:spcPct val="90000"/>
              </a:lnSpc>
              <a:buAutoNum type="arabicPeriod"/>
            </a:pPr>
            <a:r>
              <a:rPr lang="en-MY" sz="1100" b="1" dirty="0">
                <a:solidFill>
                  <a:schemeClr val="bg1"/>
                </a:solidFill>
              </a:rPr>
              <a:t>MRMX – CY</a:t>
            </a:r>
          </a:p>
          <a:p>
            <a:pPr marL="342900" indent="-342900" algn="l">
              <a:lnSpc>
                <a:spcPct val="90000"/>
              </a:lnSpc>
              <a:buAutoNum type="arabicPeriod"/>
            </a:pPr>
            <a:r>
              <a:rPr lang="en-MY" sz="1100" b="1" dirty="0" err="1">
                <a:solidFill>
                  <a:schemeClr val="bg1"/>
                </a:solidFill>
              </a:rPr>
              <a:t>LogiNet</a:t>
            </a:r>
            <a:r>
              <a:rPr lang="en-MY" sz="1100" b="1" dirty="0">
                <a:solidFill>
                  <a:schemeClr val="bg1"/>
                </a:solidFill>
              </a:rPr>
              <a:t> – Farah</a:t>
            </a:r>
          </a:p>
          <a:p>
            <a:pPr marL="342900" indent="-342900" algn="l">
              <a:lnSpc>
                <a:spcPct val="90000"/>
              </a:lnSpc>
              <a:buAutoNum type="arabicPeriod"/>
            </a:pPr>
            <a:r>
              <a:rPr lang="en-MY" sz="1100" b="1" dirty="0">
                <a:solidFill>
                  <a:schemeClr val="bg1"/>
                </a:solidFill>
              </a:rPr>
              <a:t>Eddie – to present in mgmt. meeting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C0495AC-71B3-74C4-B1C5-A48B3D3D565B}"/>
              </a:ext>
            </a:extLst>
          </p:cNvPr>
          <p:cNvSpPr/>
          <p:nvPr/>
        </p:nvSpPr>
        <p:spPr>
          <a:xfrm>
            <a:off x="12403153" y="1068520"/>
            <a:ext cx="2515658" cy="818233"/>
          </a:xfrm>
          <a:prstGeom prst="rect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MY" sz="1200" dirty="0">
                <a:solidFill>
                  <a:schemeClr val="tx1"/>
                </a:solidFill>
              </a:rPr>
              <a:t>To figure out what the data to be available for </a:t>
            </a:r>
            <a:r>
              <a:rPr lang="en-MY" sz="1200" dirty="0" err="1">
                <a:solidFill>
                  <a:schemeClr val="tx1"/>
                </a:solidFill>
              </a:rPr>
              <a:t>mgmt</a:t>
            </a:r>
            <a:r>
              <a:rPr lang="en-MY" sz="1200" dirty="0">
                <a:solidFill>
                  <a:schemeClr val="tx1"/>
                </a:solidFill>
              </a:rPr>
              <a:t> &amp; store</a:t>
            </a:r>
          </a:p>
        </p:txBody>
      </p:sp>
    </p:spTree>
    <p:extLst>
      <p:ext uri="{BB962C8B-B14F-4D97-AF65-F5344CB8AC3E}">
        <p14:creationId xmlns:p14="http://schemas.microsoft.com/office/powerpoint/2010/main" val="348492244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Slide 7"/>
          <p:cNvSpPr>
            <a:spLocks noGrp="1"/>
          </p:cNvSpPr>
          <p:nvPr>
            <p:ph type="ctrTitle"/>
          </p:nvPr>
        </p:nvSpPr>
        <p:spPr>
          <a:xfrm>
            <a:off x="335280" y="228600"/>
            <a:ext cx="6035040" cy="6400800"/>
          </a:xfrm>
        </p:spPr>
        <p:txBody>
          <a:bodyPr/>
          <a:lstStyle/>
          <a:p>
            <a:r>
              <a:rPr lang="en-US" dirty="0"/>
              <a:t>Process Flow</a:t>
            </a:r>
          </a:p>
        </p:txBody>
      </p:sp>
      <p:pic>
        <p:nvPicPr>
          <p:cNvPr id="4" name="Picture Placeholder 3" descr="A large billboards on a building&#10;&#10;Description automatically generated">
            <a:extLst>
              <a:ext uri="{FF2B5EF4-FFF2-40B4-BE49-F238E27FC236}">
                <a16:creationId xmlns:a16="http://schemas.microsoft.com/office/drawing/2014/main" id="{C1DF441C-A9E6-9093-D338-8189362F62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3" r="21243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167347108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85C38-535D-934E-0349-0150B64F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dirty="0"/>
              <a:t>Project Flow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8E338E-278A-3429-3D75-B78EB6C07EBE}"/>
              </a:ext>
            </a:extLst>
          </p:cNvPr>
          <p:cNvSpPr/>
          <p:nvPr/>
        </p:nvSpPr>
        <p:spPr>
          <a:xfrm>
            <a:off x="11150820" y="81811"/>
            <a:ext cx="860919" cy="381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eedee"/>
                <a:ea typeface="+mn-ea"/>
                <a:cs typeface="+mn-cs"/>
              </a:rPr>
              <a:t>WIP</a:t>
            </a:r>
            <a:endParaRPr kumimoji="0" lang="en-MY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peede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78753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6uq7NptkaP8Cfba9p3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cD 2.0">
  <a:themeElements>
    <a:clrScheme name="Custom 10">
      <a:dk1>
        <a:srgbClr val="000000"/>
      </a:dk1>
      <a:lt1>
        <a:srgbClr val="FFFFFF"/>
      </a:lt1>
      <a:dk2>
        <a:srgbClr val="53565A"/>
      </a:dk2>
      <a:lt2>
        <a:srgbClr val="D9D9D6"/>
      </a:lt2>
      <a:accent1>
        <a:srgbClr val="FFBC0D"/>
      </a:accent1>
      <a:accent2>
        <a:srgbClr val="DB0007"/>
      </a:accent2>
      <a:accent3>
        <a:srgbClr val="A9C23F"/>
      </a:accent3>
      <a:accent4>
        <a:srgbClr val="4C9FC8"/>
      </a:accent4>
      <a:accent5>
        <a:srgbClr val="B69A81"/>
      </a:accent5>
      <a:accent6>
        <a:srgbClr val="8A8A8D"/>
      </a:accent6>
      <a:hlink>
        <a:srgbClr val="DB0007"/>
      </a:hlink>
      <a:folHlink>
        <a:srgbClr val="8A8A8D"/>
      </a:folHlink>
    </a:clrScheme>
    <a:fontScheme name="Custom 36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25400">
          <a:solidFill>
            <a:schemeClr val="accent1"/>
          </a:solidFill>
        </a:ln>
      </a:spPr>
      <a:bodyPr wrap="square" tIns="91440" bIns="91440" rtlCol="0" anchor="ctr">
        <a:noAutofit/>
      </a:bodyPr>
      <a:lstStyle>
        <a:defPPr algn="l">
          <a:lnSpc>
            <a:spcPct val="90000"/>
          </a:lnSpc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25400">
          <a:noFill/>
        </a:ln>
      </a:spPr>
      <a:bodyPr wrap="none" tIns="91440" bIns="91440" rtlCol="0">
        <a:spAutoFit/>
      </a:bodyPr>
      <a:lstStyle>
        <a:defPPr algn="l">
          <a:lnSpc>
            <a:spcPct val="90000"/>
          </a:lnSpc>
          <a:spcBef>
            <a:spcPts val="60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</TotalTime>
  <Words>659</Words>
  <Application>Microsoft Office PowerPoint</Application>
  <PresentationFormat>Widescreen</PresentationFormat>
  <Paragraphs>147</Paragraphs>
  <Slides>9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ptos</vt:lpstr>
      <vt:lpstr>Arial</vt:lpstr>
      <vt:lpstr>Arial Narrow</vt:lpstr>
      <vt:lpstr>Graphik</vt:lpstr>
      <vt:lpstr>Museo Sans 300</vt:lpstr>
      <vt:lpstr>Speedee</vt:lpstr>
      <vt:lpstr>Symbol</vt:lpstr>
      <vt:lpstr>Wingdings</vt:lpstr>
      <vt:lpstr>McD 2.0</vt:lpstr>
      <vt:lpstr>EOM Automation</vt:lpstr>
      <vt:lpstr>Project Charter</vt:lpstr>
      <vt:lpstr>Project Charter</vt:lpstr>
      <vt:lpstr>Project Team</vt:lpstr>
      <vt:lpstr>Project Team: Roles &amp; Responsibilities</vt:lpstr>
      <vt:lpstr>Project Timeline</vt:lpstr>
      <vt:lpstr>Proposed Project Timeline</vt:lpstr>
      <vt:lpstr>Process Flow</vt:lpstr>
      <vt:lpstr>Project Flo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zlan, Azimah</dc:creator>
  <cp:lastModifiedBy>Mazlan, Azimah</cp:lastModifiedBy>
  <cp:revision>1</cp:revision>
  <dcterms:created xsi:type="dcterms:W3CDTF">2024-06-13T05:58:23Z</dcterms:created>
  <dcterms:modified xsi:type="dcterms:W3CDTF">2024-06-21T08:56:20Z</dcterms:modified>
</cp:coreProperties>
</file>